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1"/>
  </p:notesMasterIdLst>
  <p:handoutMasterIdLst>
    <p:handoutMasterId r:id="rId12"/>
  </p:handoutMasterIdLst>
  <p:sldIdLst>
    <p:sldId id="403" r:id="rId2"/>
    <p:sldId id="500" r:id="rId3"/>
    <p:sldId id="486" r:id="rId4"/>
    <p:sldId id="469" r:id="rId5"/>
    <p:sldId id="342" r:id="rId6"/>
    <p:sldId id="359" r:id="rId7"/>
    <p:sldId id="502" r:id="rId8"/>
    <p:sldId id="458" r:id="rId9"/>
    <p:sldId id="503" r:id="rId10"/>
  </p:sldIdLst>
  <p:sldSz cx="12192000" cy="6858000"/>
  <p:notesSz cx="6858000" cy="9144000"/>
  <p:custDataLst>
    <p:tags r:id="rId13"/>
  </p:custDataLst>
  <p:defaultTex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5D0A"/>
    <a:srgbClr val="000000"/>
    <a:srgbClr val="DCDCDC"/>
    <a:srgbClr val="E54B1B"/>
    <a:srgbClr val="EF7A3F"/>
    <a:srgbClr val="EE7132"/>
    <a:srgbClr val="F29668"/>
    <a:srgbClr val="F2A136"/>
    <a:srgbClr val="532210"/>
    <a:srgbClr val="27272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891" autoAdjust="0"/>
    <p:restoredTop sz="81040" autoAdjust="0"/>
  </p:normalViewPr>
  <p:slideViewPr>
    <p:cSldViewPr snapToGrid="0">
      <p:cViewPr varScale="1">
        <p:scale>
          <a:sx n="86" d="100"/>
          <a:sy n="86" d="100"/>
        </p:scale>
        <p:origin x="2024" y="192"/>
      </p:cViewPr>
      <p:guideLst/>
    </p:cSldViewPr>
  </p:slideViewPr>
  <p:outlineViewPr>
    <p:cViewPr>
      <p:scale>
        <a:sx n="33" d="100"/>
        <a:sy n="33" d="100"/>
      </p:scale>
      <p:origin x="0" y="-84"/>
    </p:cViewPr>
  </p:outlineViewPr>
  <p:notesTextViewPr>
    <p:cViewPr>
      <p:scale>
        <a:sx n="100" d="100"/>
        <a:sy n="100" d="100"/>
      </p:scale>
      <p:origin x="0" y="0"/>
    </p:cViewPr>
  </p:notesTextViewPr>
  <p:sorterViewPr>
    <p:cViewPr varScale="1">
      <p:scale>
        <a:sx n="1" d="1"/>
        <a:sy n="1" d="1"/>
      </p:scale>
      <p:origin x="0" y="-3372"/>
    </p:cViewPr>
  </p:sorterViewPr>
  <p:notesViewPr>
    <p:cSldViewPr snapToGrid="0">
      <p:cViewPr varScale="1">
        <p:scale>
          <a:sx n="81" d="100"/>
          <a:sy n="81" d="100"/>
        </p:scale>
        <p:origin x="3042"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680" b="0" i="0" u="none" strike="noStrike" kern="1200" spc="0" baseline="0">
                <a:solidFill>
                  <a:schemeClr val="tx1">
                    <a:lumMod val="65000"/>
                    <a:lumOff val="35000"/>
                  </a:schemeClr>
                </a:solidFill>
                <a:latin typeface="+mn-lt"/>
                <a:ea typeface="+mn-ea"/>
                <a:cs typeface="+mn-cs"/>
              </a:defRPr>
            </a:pPr>
            <a:r>
              <a:rPr lang="en-US" sz="1400" b="1" kern="1200" dirty="0">
                <a:solidFill>
                  <a:schemeClr val="accent2"/>
                </a:solidFill>
                <a:latin typeface="+mn-lt"/>
                <a:ea typeface="+mn-ea"/>
                <a:cs typeface="+mn-cs"/>
              </a:rPr>
              <a:t>LOA from </a:t>
            </a:r>
            <a:br>
              <a:rPr lang="en-US" sz="1400" b="1" kern="1200" dirty="0">
                <a:solidFill>
                  <a:schemeClr val="accent2"/>
                </a:solidFill>
                <a:latin typeface="+mn-lt"/>
                <a:ea typeface="+mn-ea"/>
                <a:cs typeface="+mn-cs"/>
              </a:rPr>
            </a:br>
            <a:r>
              <a:rPr lang="en-US" sz="1400" b="1" kern="1200" dirty="0">
                <a:solidFill>
                  <a:schemeClr val="accent2"/>
                </a:solidFill>
                <a:latin typeface="+mn-lt"/>
                <a:ea typeface="+mn-ea"/>
                <a:cs typeface="+mn-cs"/>
              </a:rPr>
              <a:t>Phase I </a:t>
            </a:r>
            <a:r>
              <a:rPr lang="en-US" sz="1400" kern="1200" dirty="0">
                <a:solidFill>
                  <a:schemeClr val="bg2"/>
                </a:solidFill>
                <a:latin typeface="+mn-lt"/>
                <a:ea typeface="+mn-ea"/>
                <a:cs typeface="+mn-cs"/>
              </a:rPr>
              <a:t>(%)</a:t>
            </a:r>
          </a:p>
        </c:rich>
      </c:tx>
      <c:layout>
        <c:manualLayout>
          <c:xMode val="edge"/>
          <c:yMode val="edge"/>
          <c:x val="2.3785610718497274E-2"/>
          <c:y val="0"/>
        </c:manualLayout>
      </c:layout>
      <c:overlay val="0"/>
      <c:spPr>
        <a:noFill/>
        <a:ln>
          <a:noFill/>
        </a:ln>
        <a:effectLst/>
      </c:spPr>
      <c:txPr>
        <a:bodyPr rot="0" spcFirstLastPara="1" vertOverflow="ellipsis" vert="horz" wrap="square" anchor="ctr" anchorCtr="1"/>
        <a:lstStyle/>
        <a:p>
          <a:pPr algn="l">
            <a:defRPr sz="1680" b="0" i="0" u="none" strike="noStrike" kern="1200" spc="0" baseline="0">
              <a:solidFill>
                <a:schemeClr val="tx1">
                  <a:lumMod val="65000"/>
                  <a:lumOff val="35000"/>
                </a:schemeClr>
              </a:solidFill>
              <a:latin typeface="+mn-lt"/>
              <a:ea typeface="+mn-ea"/>
              <a:cs typeface="+mn-cs"/>
            </a:defRPr>
          </a:pPr>
          <a:endParaRPr lang="es-ES"/>
        </a:p>
      </c:txPr>
    </c:title>
    <c:autoTitleDeleted val="0"/>
    <c:plotArea>
      <c:layout>
        <c:manualLayout>
          <c:layoutTarget val="inner"/>
          <c:xMode val="edge"/>
          <c:yMode val="edge"/>
          <c:x val="5.8393700787401574E-2"/>
          <c:y val="0.14955665002958599"/>
          <c:w val="0.94160629921259842"/>
          <c:h val="0.55242528161686921"/>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1"/>
            <c:invertIfNegative val="0"/>
            <c:bubble3D val="0"/>
            <c:spPr>
              <a:solidFill>
                <a:schemeClr val="accent2"/>
              </a:solidFill>
              <a:ln>
                <a:noFill/>
              </a:ln>
              <a:effectLst/>
            </c:spPr>
            <c:extLst>
              <c:ext xmlns:c16="http://schemas.microsoft.com/office/drawing/2014/chart" uri="{C3380CC4-5D6E-409C-BE32-E72D297353CC}">
                <c16:uniqueId val="{00000003-0141-4411-B686-81C6FAEE8720}"/>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mn-lt"/>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Haematology</c:v>
                </c:pt>
                <c:pt idx="1">
                  <c:v>Infectious Disease</c:v>
                </c:pt>
                <c:pt idx="2">
                  <c:v>Opthalmology</c:v>
                </c:pt>
                <c:pt idx="3">
                  <c:v>Other</c:v>
                </c:pt>
                <c:pt idx="4">
                  <c:v>Metabolic</c:v>
                </c:pt>
                <c:pt idx="5">
                  <c:v>Gastroenterology</c:v>
                </c:pt>
                <c:pt idx="6">
                  <c:v>Allergy</c:v>
                </c:pt>
                <c:pt idx="7">
                  <c:v>Endocrine</c:v>
                </c:pt>
                <c:pt idx="8">
                  <c:v>Respiratory</c:v>
                </c:pt>
                <c:pt idx="9">
                  <c:v>Urology</c:v>
                </c:pt>
                <c:pt idx="10">
                  <c:v>Autoimmune</c:v>
                </c:pt>
                <c:pt idx="11">
                  <c:v>All indications</c:v>
                </c:pt>
                <c:pt idx="12">
                  <c:v>Neurology</c:v>
                </c:pt>
                <c:pt idx="13">
                  <c:v>Cardiovascular</c:v>
                </c:pt>
                <c:pt idx="14">
                  <c:v>Psychiatry</c:v>
                </c:pt>
                <c:pt idx="15">
                  <c:v>Oncology</c:v>
                </c:pt>
              </c:strCache>
            </c:strRef>
          </c:cat>
          <c:val>
            <c:numRef>
              <c:f>Sheet1!$B$2:$B$17</c:f>
              <c:numCache>
                <c:formatCode>General</c:formatCode>
                <c:ptCount val="16"/>
                <c:pt idx="0">
                  <c:v>26.1</c:v>
                </c:pt>
                <c:pt idx="1">
                  <c:v>19.100000000000001</c:v>
                </c:pt>
                <c:pt idx="2">
                  <c:v>17.100000000000001</c:v>
                </c:pt>
                <c:pt idx="3">
                  <c:v>16.3</c:v>
                </c:pt>
                <c:pt idx="4">
                  <c:v>15.3</c:v>
                </c:pt>
                <c:pt idx="5">
                  <c:v>15.1</c:v>
                </c:pt>
                <c:pt idx="6">
                  <c:v>14.7</c:v>
                </c:pt>
                <c:pt idx="7">
                  <c:v>13.2</c:v>
                </c:pt>
                <c:pt idx="8">
                  <c:v>12.8</c:v>
                </c:pt>
                <c:pt idx="9">
                  <c:v>11.4</c:v>
                </c:pt>
                <c:pt idx="10">
                  <c:v>11.1</c:v>
                </c:pt>
                <c:pt idx="11">
                  <c:v>9.6</c:v>
                </c:pt>
                <c:pt idx="12">
                  <c:v>8.4</c:v>
                </c:pt>
                <c:pt idx="13">
                  <c:v>6.6</c:v>
                </c:pt>
                <c:pt idx="14">
                  <c:v>6.2</c:v>
                </c:pt>
                <c:pt idx="15">
                  <c:v>5.0999999999999996</c:v>
                </c:pt>
              </c:numCache>
            </c:numRef>
          </c:val>
          <c:extLst>
            <c:ext xmlns:c16="http://schemas.microsoft.com/office/drawing/2014/chart" uri="{C3380CC4-5D6E-409C-BE32-E72D297353CC}">
              <c16:uniqueId val="{00000000-0141-4411-B686-81C6FAEE8720}"/>
            </c:ext>
          </c:extLst>
        </c:ser>
        <c:dLbls>
          <c:showLegendKey val="0"/>
          <c:showVal val="0"/>
          <c:showCatName val="0"/>
          <c:showSerName val="0"/>
          <c:showPercent val="0"/>
          <c:showBubbleSize val="0"/>
        </c:dLbls>
        <c:gapWidth val="70"/>
        <c:axId val="819128472"/>
        <c:axId val="819123552"/>
      </c:barChart>
      <c:catAx>
        <c:axId val="81912847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bg2"/>
                </a:solidFill>
                <a:latin typeface="+mn-lt"/>
                <a:ea typeface="+mn-ea"/>
                <a:cs typeface="+mn-cs"/>
              </a:defRPr>
            </a:pPr>
            <a:endParaRPr lang="es-ES"/>
          </a:p>
        </c:txPr>
        <c:crossAx val="819123552"/>
        <c:crosses val="autoZero"/>
        <c:auto val="1"/>
        <c:lblAlgn val="ctr"/>
        <c:lblOffset val="100"/>
        <c:tickLblSkip val="1"/>
        <c:noMultiLvlLbl val="0"/>
      </c:catAx>
      <c:valAx>
        <c:axId val="819123552"/>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bg2"/>
                </a:solidFill>
                <a:latin typeface="+mn-lt"/>
                <a:ea typeface="+mn-ea"/>
                <a:cs typeface="+mn-cs"/>
              </a:defRPr>
            </a:pPr>
            <a:endParaRPr lang="es-ES"/>
          </a:p>
        </c:txPr>
        <c:crossAx val="8191284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s-E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A9C482C-5D32-4C5F-8CD2-377FA96D5D0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D354A2E-96A1-4ED0-90D4-2381043B0EA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B80CC3C-90F6-448B-B72D-290C001877D1}" type="datetimeFigureOut">
              <a:rPr lang="en-US" smtClean="0"/>
              <a:t>12/14/18</a:t>
            </a:fld>
            <a:endParaRPr lang="en-US"/>
          </a:p>
        </p:txBody>
      </p:sp>
      <p:sp>
        <p:nvSpPr>
          <p:cNvPr id="4" name="Footer Placeholder 3">
            <a:extLst>
              <a:ext uri="{FF2B5EF4-FFF2-40B4-BE49-F238E27FC236}">
                <a16:creationId xmlns:a16="http://schemas.microsoft.com/office/drawing/2014/main" id="{5E806163-7EFE-479A-9030-C35D1C32F99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5BC4E70-086B-4667-86C0-F0BD413DB4C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B85FFDD-23D4-40A2-AE72-C327A7EFBB3D}" type="slidenum">
              <a:rPr lang="en-US" smtClean="0"/>
              <a:t>‹#›</a:t>
            </a:fld>
            <a:endParaRPr lang="en-US"/>
          </a:p>
        </p:txBody>
      </p:sp>
    </p:spTree>
    <p:extLst>
      <p:ext uri="{BB962C8B-B14F-4D97-AF65-F5344CB8AC3E}">
        <p14:creationId xmlns:p14="http://schemas.microsoft.com/office/powerpoint/2010/main" val="21452407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d-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BF6110A-4E3B-4A8E-8787-C829840F3EF1}" type="datetimeFigureOut">
              <a:rPr lang="id-ID" smtClean="0"/>
              <a:t>14/12/18</a:t>
            </a:fld>
            <a:endParaRPr lang="id-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d-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d-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04AABBD-5B74-40BE-9196-802D2FD825F4}" type="slidenum">
              <a:rPr lang="id-ID" smtClean="0"/>
              <a:t>‹#›</a:t>
            </a:fld>
            <a:endParaRPr lang="id-ID"/>
          </a:p>
        </p:txBody>
      </p:sp>
    </p:spTree>
    <p:extLst>
      <p:ext uri="{BB962C8B-B14F-4D97-AF65-F5344CB8AC3E}">
        <p14:creationId xmlns:p14="http://schemas.microsoft.com/office/powerpoint/2010/main" val="29285826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304AABBD-5B74-40BE-9196-802D2FD825F4}" type="slidenum">
              <a:rPr lang="id-ID" smtClean="0"/>
              <a:t>1</a:t>
            </a:fld>
            <a:endParaRPr lang="id-ID"/>
          </a:p>
        </p:txBody>
      </p:sp>
    </p:spTree>
    <p:extLst>
      <p:ext uri="{BB962C8B-B14F-4D97-AF65-F5344CB8AC3E}">
        <p14:creationId xmlns:p14="http://schemas.microsoft.com/office/powerpoint/2010/main" val="36602218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706728" rtl="0" eaLnBrk="1" fontAlgn="auto" latinLnBrk="0" hangingPunct="1">
              <a:lnSpc>
                <a:spcPct val="100000"/>
              </a:lnSpc>
              <a:spcBef>
                <a:spcPts val="0"/>
              </a:spcBef>
              <a:spcAft>
                <a:spcPts val="0"/>
              </a:spcAft>
              <a:buClrTx/>
              <a:buSzTx/>
              <a:buFontTx/>
              <a:buNone/>
              <a:tabLst/>
              <a:defRPr/>
            </a:pPr>
            <a:endParaRPr lang="en-US" baseline="0" noProof="0" dirty="0"/>
          </a:p>
        </p:txBody>
      </p:sp>
      <p:sp>
        <p:nvSpPr>
          <p:cNvPr id="4" name="Slide Number Placeholder 3"/>
          <p:cNvSpPr>
            <a:spLocks noGrp="1"/>
          </p:cNvSpPr>
          <p:nvPr>
            <p:ph type="sldNum" sz="quarter" idx="5"/>
          </p:nvPr>
        </p:nvSpPr>
        <p:spPr/>
        <p:txBody>
          <a:bodyPr/>
          <a:lstStyle/>
          <a:p>
            <a:fld id="{304AABBD-5B74-40BE-9196-802D2FD825F4}" type="slidenum">
              <a:rPr lang="id-ID" smtClean="0"/>
              <a:t>2</a:t>
            </a:fld>
            <a:endParaRPr lang="id-ID"/>
          </a:p>
        </p:txBody>
      </p:sp>
    </p:spTree>
    <p:extLst>
      <p:ext uri="{BB962C8B-B14F-4D97-AF65-F5344CB8AC3E}">
        <p14:creationId xmlns:p14="http://schemas.microsoft.com/office/powerpoint/2010/main" val="15054968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04AABBD-5B74-40BE-9196-802D2FD825F4}" type="slidenum">
              <a:rPr lang="id-ID" smtClean="0"/>
              <a:t>3</a:t>
            </a:fld>
            <a:endParaRPr lang="id-ID"/>
          </a:p>
        </p:txBody>
      </p:sp>
    </p:spTree>
    <p:extLst>
      <p:ext uri="{BB962C8B-B14F-4D97-AF65-F5344CB8AC3E}">
        <p14:creationId xmlns:p14="http://schemas.microsoft.com/office/powerpoint/2010/main" val="9795356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1706728" rtl="0" eaLnBrk="1" fontAlgn="auto" latinLnBrk="0" hangingPunct="1">
              <a:lnSpc>
                <a:spcPct val="100000"/>
              </a:lnSpc>
              <a:spcBef>
                <a:spcPts val="0"/>
              </a:spcBef>
              <a:spcAft>
                <a:spcPts val="0"/>
              </a:spcAft>
              <a:buClrTx/>
              <a:buSzTx/>
              <a:buFontTx/>
              <a:buNone/>
              <a:tabLst/>
              <a:defRPr/>
            </a:pPr>
            <a:endParaRPr lang="en-US" baseline="0" noProof="0" dirty="0"/>
          </a:p>
          <a:p>
            <a:pPr marL="0" marR="0" indent="0" algn="l" defTabSz="1706728" rtl="0" eaLnBrk="1" fontAlgn="auto" latinLnBrk="0" hangingPunct="1">
              <a:lnSpc>
                <a:spcPct val="100000"/>
              </a:lnSpc>
              <a:spcBef>
                <a:spcPts val="0"/>
              </a:spcBef>
              <a:spcAft>
                <a:spcPts val="0"/>
              </a:spcAft>
              <a:buClrTx/>
              <a:buSzTx/>
              <a:buFontTx/>
              <a:buNone/>
              <a:tabLst/>
              <a:defRPr/>
            </a:pPr>
            <a:endParaRPr lang="en-US" baseline="0" noProof="0" dirty="0"/>
          </a:p>
        </p:txBody>
      </p:sp>
      <p:sp>
        <p:nvSpPr>
          <p:cNvPr id="4" name="Marcador de número de diapositiva 3"/>
          <p:cNvSpPr>
            <a:spLocks noGrp="1"/>
          </p:cNvSpPr>
          <p:nvPr>
            <p:ph type="sldNum" sz="quarter" idx="10"/>
          </p:nvPr>
        </p:nvSpPr>
        <p:spPr/>
        <p:txBody>
          <a:bodyPr/>
          <a:lstStyle/>
          <a:p>
            <a:fld id="{F73BA235-B99D-E043-9B30-DFFC8EF9F6F4}" type="slidenum">
              <a:rPr lang="en-US" smtClean="0"/>
              <a:t>4</a:t>
            </a:fld>
            <a:endParaRPr lang="en-US"/>
          </a:p>
        </p:txBody>
      </p:sp>
    </p:spTree>
    <p:extLst>
      <p:ext uri="{BB962C8B-B14F-4D97-AF65-F5344CB8AC3E}">
        <p14:creationId xmlns:p14="http://schemas.microsoft.com/office/powerpoint/2010/main" val="33368060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sz="1200" b="1" i="1" dirty="0">
              <a:latin typeface="Calibri" panose="020F0502020204030204" pitchFamily="34" charset="0"/>
              <a:cs typeface="Calibri" panose="020F0502020204030204" pitchFamily="34" charset="0"/>
            </a:endParaRPr>
          </a:p>
          <a:p>
            <a:r>
              <a:rPr lang="es-ES" sz="1200" b="1" i="1" dirty="0" err="1">
                <a:latin typeface="Calibri" panose="020F0502020204030204" pitchFamily="34" charset="0"/>
                <a:cs typeface="Calibri" panose="020F0502020204030204" pitchFamily="34" charset="0"/>
              </a:rPr>
              <a:t>Slide</a:t>
            </a:r>
            <a:r>
              <a:rPr lang="es-ES" sz="1200" b="1" i="1" dirty="0">
                <a:latin typeface="Calibri" panose="020F0502020204030204" pitchFamily="34" charset="0"/>
                <a:cs typeface="Calibri" panose="020F0502020204030204" pitchFamily="34" charset="0"/>
              </a:rPr>
              <a:t> 10: </a:t>
            </a:r>
            <a:r>
              <a:rPr lang="es-ES" sz="1200" b="1" i="1" dirty="0" err="1">
                <a:latin typeface="Calibri" panose="020F0502020204030204" pitchFamily="34" charset="0"/>
                <a:cs typeface="Calibri" panose="020F0502020204030204" pitchFamily="34" charset="0"/>
              </a:rPr>
              <a:t>Study</a:t>
            </a:r>
            <a:r>
              <a:rPr lang="es-ES" sz="1200" b="1" i="1" dirty="0">
                <a:latin typeface="Calibri" panose="020F0502020204030204" pitchFamily="34" charset="0"/>
                <a:cs typeface="Calibri" panose="020F0502020204030204" pitchFamily="34" charset="0"/>
              </a:rPr>
              <a:t> time line: </a:t>
            </a:r>
            <a:r>
              <a:rPr lang="es-ES" sz="1200" b="0" i="0" dirty="0">
                <a:latin typeface="Calibri" panose="020F0502020204030204" pitchFamily="34" charset="0"/>
                <a:cs typeface="Calibri" panose="020F0502020204030204" pitchFamily="34" charset="0"/>
              </a:rPr>
              <a:t>Para explicaros</a:t>
            </a:r>
            <a:r>
              <a:rPr lang="es-ES" sz="1200" dirty="0">
                <a:latin typeface="Calibri" panose="020F0502020204030204" pitchFamily="34" charset="0"/>
                <a:cs typeface="Calibri" panose="020F0502020204030204" pitchFamily="34" charset="0"/>
              </a:rPr>
              <a:t> esa construcción de una casa (o puente) en la investigación clínica (de idea hasta publicación de datos) (o, en los ejemplos anteriores del plano inicial hasta la construcción de la obra) parece a algo como este dibujo: </a:t>
            </a:r>
          </a:p>
          <a:p>
            <a:endParaRPr lang="es-ES" sz="1200" dirty="0">
              <a:latin typeface="Calibri" panose="020F0502020204030204" pitchFamily="34" charset="0"/>
              <a:cs typeface="Calibri" panose="020F0502020204030204" pitchFamily="34" charset="0"/>
            </a:endParaRPr>
          </a:p>
          <a:p>
            <a:r>
              <a:rPr lang="es-ES" sz="1200" dirty="0">
                <a:latin typeface="Calibri" panose="020F0502020204030204" pitchFamily="34" charset="0"/>
                <a:cs typeface="Calibri" panose="020F0502020204030204" pitchFamily="34" charset="0"/>
              </a:rPr>
              <a:t>Es un viaje muy a veces muy largo donde interviene mucha gente y entidades y a veces varios países y varias docenas de hospitales…Hablaré yo de la parte inicial y  mi compañera, Anna Gibernau, os comentará la 2ª parte y todo lo que implica el desarrollo y gestión y realización del estudio y sus normas y trámites…</a:t>
            </a:r>
          </a:p>
          <a:p>
            <a:endParaRPr lang="es-ES" sz="1400" dirty="0">
              <a:latin typeface="Calibri" panose="020F0502020204030204" pitchFamily="34" charset="0"/>
              <a:cs typeface="Calibri" panose="020F0502020204030204" pitchFamily="34" charset="0"/>
            </a:endParaRPr>
          </a:p>
          <a:p>
            <a:endParaRPr lang="en-US" noProof="0" dirty="0"/>
          </a:p>
        </p:txBody>
      </p:sp>
      <p:sp>
        <p:nvSpPr>
          <p:cNvPr id="4" name="Marcador de número de diapositiva 3"/>
          <p:cNvSpPr>
            <a:spLocks noGrp="1"/>
          </p:cNvSpPr>
          <p:nvPr>
            <p:ph type="sldNum" sz="quarter" idx="10"/>
          </p:nvPr>
        </p:nvSpPr>
        <p:spPr/>
        <p:txBody>
          <a:bodyPr/>
          <a:lstStyle/>
          <a:p>
            <a:fld id="{F73BA235-B99D-E043-9B30-DFFC8EF9F6F4}" type="slidenum">
              <a:rPr lang="en-US" smtClean="0"/>
              <a:t>5</a:t>
            </a:fld>
            <a:endParaRPr lang="en-US"/>
          </a:p>
        </p:txBody>
      </p:sp>
    </p:spTree>
    <p:extLst>
      <p:ext uri="{BB962C8B-B14F-4D97-AF65-F5344CB8AC3E}">
        <p14:creationId xmlns:p14="http://schemas.microsoft.com/office/powerpoint/2010/main" val="1004316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304AABBD-5B74-40BE-9196-802D2FD825F4}" type="slidenum">
              <a:rPr lang="id-ID" smtClean="0"/>
              <a:t>6</a:t>
            </a:fld>
            <a:endParaRPr lang="id-ID"/>
          </a:p>
        </p:txBody>
      </p:sp>
    </p:spTree>
    <p:extLst>
      <p:ext uri="{BB962C8B-B14F-4D97-AF65-F5344CB8AC3E}">
        <p14:creationId xmlns:p14="http://schemas.microsoft.com/office/powerpoint/2010/main" val="24608658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sz="1200" dirty="0">
              <a:latin typeface="Calibri" panose="020F0502020204030204" pitchFamily="34" charset="0"/>
              <a:cs typeface="Calibri" panose="020F0502020204030204" pitchFamily="34" charset="0"/>
            </a:endParaRPr>
          </a:p>
          <a:p>
            <a:endParaRPr lang="es-ES" dirty="0"/>
          </a:p>
        </p:txBody>
      </p:sp>
      <p:sp>
        <p:nvSpPr>
          <p:cNvPr id="4" name="Slide Number Placeholder 3"/>
          <p:cNvSpPr>
            <a:spLocks noGrp="1"/>
          </p:cNvSpPr>
          <p:nvPr>
            <p:ph type="sldNum" sz="quarter" idx="5"/>
          </p:nvPr>
        </p:nvSpPr>
        <p:spPr/>
        <p:txBody>
          <a:bodyPr/>
          <a:lstStyle/>
          <a:p>
            <a:fld id="{304AABBD-5B74-40BE-9196-802D2FD825F4}" type="slidenum">
              <a:rPr lang="id-ID" smtClean="0"/>
              <a:t>7</a:t>
            </a:fld>
            <a:endParaRPr lang="id-ID"/>
          </a:p>
        </p:txBody>
      </p:sp>
    </p:spTree>
    <p:extLst>
      <p:ext uri="{BB962C8B-B14F-4D97-AF65-F5344CB8AC3E}">
        <p14:creationId xmlns:p14="http://schemas.microsoft.com/office/powerpoint/2010/main" val="31701846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706728"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304AABBD-5B74-40BE-9196-802D2FD825F4}" type="slidenum">
              <a:rPr lang="id-ID" smtClean="0"/>
              <a:t>8</a:t>
            </a:fld>
            <a:endParaRPr lang="id-ID"/>
          </a:p>
        </p:txBody>
      </p:sp>
    </p:spTree>
    <p:extLst>
      <p:ext uri="{BB962C8B-B14F-4D97-AF65-F5344CB8AC3E}">
        <p14:creationId xmlns:p14="http://schemas.microsoft.com/office/powerpoint/2010/main" val="40311448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sz="1400" dirty="0">
              <a:latin typeface="Calibri" panose="020F0502020204030204" pitchFamily="34" charset="0"/>
              <a:cs typeface="Calibri" panose="020F0502020204030204" pitchFamily="34" charset="0"/>
            </a:endParaRPr>
          </a:p>
          <a:p>
            <a:endParaRPr lang="en-US" noProof="0" dirty="0"/>
          </a:p>
        </p:txBody>
      </p:sp>
      <p:sp>
        <p:nvSpPr>
          <p:cNvPr id="4" name="Marcador de número de diapositiva 3"/>
          <p:cNvSpPr>
            <a:spLocks noGrp="1"/>
          </p:cNvSpPr>
          <p:nvPr>
            <p:ph type="sldNum" sz="quarter" idx="10"/>
          </p:nvPr>
        </p:nvSpPr>
        <p:spPr/>
        <p:txBody>
          <a:bodyPr/>
          <a:lstStyle/>
          <a:p>
            <a:fld id="{F73BA235-B99D-E043-9B30-DFFC8EF9F6F4}" type="slidenum">
              <a:rPr lang="en-US" smtClean="0"/>
              <a:t>9</a:t>
            </a:fld>
            <a:endParaRPr lang="en-US"/>
          </a:p>
        </p:txBody>
      </p:sp>
    </p:spTree>
    <p:extLst>
      <p:ext uri="{BB962C8B-B14F-4D97-AF65-F5344CB8AC3E}">
        <p14:creationId xmlns:p14="http://schemas.microsoft.com/office/powerpoint/2010/main" val="18107211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microsoft.com/office/2007/relationships/hdphoto" Target="../media/hdphoto2.wdp"/><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microsoft.com/office/2007/relationships/hdphoto" Target="../media/hdphoto3.wdp"/><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Dark-Blank">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A7FA247-99B5-4ADB-813E-965729C5E268}"/>
              </a:ext>
            </a:extLst>
          </p:cNvPr>
          <p:cNvGraphicFramePr>
            <a:graphicFrameLocks noChangeAspect="1"/>
          </p:cNvGraphicFramePr>
          <p:nvPr userDrawn="1">
            <p:custDataLst>
              <p:tags r:id="rId2"/>
            </p:custDataLst>
            <p:extLst>
              <p:ext uri="{D42A27DB-BD31-4B8C-83A1-F6EECF244321}">
                <p14:modId xmlns:p14="http://schemas.microsoft.com/office/powerpoint/2010/main" val="32977784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136"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8A7FA247-99B5-4ADB-813E-965729C5E26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5">
            <a:extLst>
              <a:ext uri="{FF2B5EF4-FFF2-40B4-BE49-F238E27FC236}">
                <a16:creationId xmlns:a16="http://schemas.microsoft.com/office/drawing/2014/main" id="{A2B05A90-C33E-4329-864E-6B67C04C1DCA}"/>
              </a:ext>
            </a:extLst>
          </p:cNvPr>
          <p:cNvSpPr>
            <a:spLocks noGrp="1"/>
          </p:cNvSpPr>
          <p:nvPr>
            <p:ph type="body" sz="quarter" idx="11" hasCustomPrompt="1"/>
          </p:nvPr>
        </p:nvSpPr>
        <p:spPr>
          <a:xfrm>
            <a:off x="7162800" y="3301459"/>
            <a:ext cx="4406900" cy="249299"/>
          </a:xfrm>
          <a:prstGeom prst="rect">
            <a:avLst/>
          </a:prstGeom>
        </p:spPr>
        <p:txBody>
          <a:bodyPr wrap="square" lIns="0" tIns="0" rIns="0" bIns="0">
            <a:spAutoFit/>
          </a:bodyPr>
          <a:lstStyle>
            <a:lvl1pPr marL="0" indent="0" algn="ctr">
              <a:buNone/>
              <a:defRPr sz="1800" b="0">
                <a:solidFill>
                  <a:schemeClr val="bg2"/>
                </a:solidFill>
                <a:latin typeface="+mn-lt"/>
              </a:defRPr>
            </a:lvl1pPr>
          </a:lstStyle>
          <a:p>
            <a:pPr lvl="0"/>
            <a:r>
              <a:rPr lang="en-US" dirty="0"/>
              <a:t>Sub Title</a:t>
            </a:r>
          </a:p>
        </p:txBody>
      </p:sp>
      <p:sp>
        <p:nvSpPr>
          <p:cNvPr id="12" name="Text Placeholder 5">
            <a:extLst>
              <a:ext uri="{FF2B5EF4-FFF2-40B4-BE49-F238E27FC236}">
                <a16:creationId xmlns:a16="http://schemas.microsoft.com/office/drawing/2014/main" id="{A474E466-694C-43FC-AEEE-4EDA6C471091}"/>
              </a:ext>
            </a:extLst>
          </p:cNvPr>
          <p:cNvSpPr>
            <a:spLocks noGrp="1"/>
          </p:cNvSpPr>
          <p:nvPr>
            <p:ph type="body" sz="quarter" idx="10" hasCustomPrompt="1"/>
          </p:nvPr>
        </p:nvSpPr>
        <p:spPr>
          <a:xfrm>
            <a:off x="7162800" y="2171700"/>
            <a:ext cx="4406900" cy="923330"/>
          </a:xfrm>
          <a:prstGeom prst="rect">
            <a:avLst/>
          </a:prstGeom>
        </p:spPr>
        <p:txBody>
          <a:bodyPr wrap="square" lIns="0" tIns="0" rIns="0" bIns="0" anchor="t" anchorCtr="0">
            <a:spAutoFit/>
          </a:bodyPr>
          <a:lstStyle>
            <a:lvl1pPr marL="0" indent="0" algn="ctr">
              <a:lnSpc>
                <a:spcPct val="100000"/>
              </a:lnSpc>
              <a:buNone/>
              <a:defRPr sz="3000" b="1">
                <a:solidFill>
                  <a:schemeClr val="accent5"/>
                </a:solidFill>
                <a:latin typeface="+mj-lt"/>
              </a:defRPr>
            </a:lvl1pPr>
          </a:lstStyle>
          <a:p>
            <a:pPr lvl="0"/>
            <a:r>
              <a:rPr lang="en-US" dirty="0"/>
              <a:t>Title of the presentation</a:t>
            </a:r>
          </a:p>
        </p:txBody>
      </p:sp>
    </p:spTree>
    <p:extLst>
      <p:ext uri="{BB962C8B-B14F-4D97-AF65-F5344CB8AC3E}">
        <p14:creationId xmlns:p14="http://schemas.microsoft.com/office/powerpoint/2010/main" val="3089660788"/>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1_Diapositiva de título">
    <p:spTree>
      <p:nvGrpSpPr>
        <p:cNvPr id="1" name=""/>
        <p:cNvGrpSpPr/>
        <p:nvPr/>
      </p:nvGrpSpPr>
      <p:grpSpPr>
        <a:xfrm>
          <a:off x="0" y="0"/>
          <a:ext cx="0" cy="0"/>
          <a:chOff x="0" y="0"/>
          <a:chExt cx="0" cy="0"/>
        </a:xfrm>
      </p:grpSpPr>
      <p:sp>
        <p:nvSpPr>
          <p:cNvPr id="11" name="Rectángulo 10"/>
          <p:cNvSpPr/>
          <p:nvPr userDrawn="1"/>
        </p:nvSpPr>
        <p:spPr>
          <a:xfrm>
            <a:off x="0" y="1622372"/>
            <a:ext cx="12192000" cy="4876389"/>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00" dirty="0">
              <a:latin typeface="+mn-lt"/>
            </a:endParaRPr>
          </a:p>
        </p:txBody>
      </p:sp>
      <p:sp>
        <p:nvSpPr>
          <p:cNvPr id="2" name="Título 1"/>
          <p:cNvSpPr>
            <a:spLocks noGrp="1"/>
          </p:cNvSpPr>
          <p:nvPr>
            <p:ph type="ctrTitle" hasCustomPrompt="1"/>
          </p:nvPr>
        </p:nvSpPr>
        <p:spPr>
          <a:xfrm>
            <a:off x="1186320" y="137225"/>
            <a:ext cx="10363200" cy="1309005"/>
          </a:xfrm>
        </p:spPr>
        <p:txBody>
          <a:bodyPr>
            <a:normAutofit/>
          </a:bodyPr>
          <a:lstStyle>
            <a:lvl1pPr algn="l">
              <a:lnSpc>
                <a:spcPct val="100000"/>
              </a:lnSpc>
              <a:defRPr sz="2500" b="1" i="0">
                <a:solidFill>
                  <a:schemeClr val="tx1">
                    <a:lumMod val="75000"/>
                    <a:lumOff val="25000"/>
                  </a:schemeClr>
                </a:solidFill>
                <a:latin typeface="+mn-lt"/>
                <a:cs typeface="Oswald Bold"/>
              </a:defRPr>
            </a:lvl1pPr>
          </a:lstStyle>
          <a:p>
            <a:r>
              <a:rPr lang="es-ES_tradnl" dirty="0"/>
              <a:t>CLIC PARA EDITAR TÍTULO</a:t>
            </a:r>
            <a:endParaRPr lang="es-ES" dirty="0"/>
          </a:p>
        </p:txBody>
      </p:sp>
      <p:sp>
        <p:nvSpPr>
          <p:cNvPr id="3" name="Subtítulo 2"/>
          <p:cNvSpPr>
            <a:spLocks noGrp="1"/>
          </p:cNvSpPr>
          <p:nvPr>
            <p:ph type="subTitle" idx="1"/>
          </p:nvPr>
        </p:nvSpPr>
        <p:spPr>
          <a:xfrm>
            <a:off x="803160" y="2252790"/>
            <a:ext cx="10363201" cy="3884423"/>
          </a:xfrm>
        </p:spPr>
        <p:txBody>
          <a:bodyPr>
            <a:normAutofit/>
          </a:bodyPr>
          <a:lstStyle>
            <a:lvl1pPr marL="285750" indent="-285750" algn="l">
              <a:lnSpc>
                <a:spcPct val="120000"/>
              </a:lnSpc>
              <a:buFontTx/>
              <a:buBlip>
                <a:blip r:embed="rId2"/>
              </a:buBlip>
              <a:defRPr sz="1800" b="0" i="0" baseline="0">
                <a:solidFill>
                  <a:schemeClr val="tx1">
                    <a:lumMod val="65000"/>
                    <a:lumOff val="35000"/>
                  </a:schemeClr>
                </a:solidFill>
                <a:latin typeface="+mn-lt"/>
                <a:cs typeface="Roboto Regular"/>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dirty="0"/>
              <a:t>Haga clic para modificar el estilo de subtítulo del patrón</a:t>
            </a:r>
            <a:endParaRPr lang="es-ES" dirty="0"/>
          </a:p>
        </p:txBody>
      </p:sp>
      <p:sp>
        <p:nvSpPr>
          <p:cNvPr id="8" name="Rectángulo 7"/>
          <p:cNvSpPr/>
          <p:nvPr userDrawn="1"/>
        </p:nvSpPr>
        <p:spPr>
          <a:xfrm>
            <a:off x="0" y="6489490"/>
            <a:ext cx="12192000" cy="368510"/>
          </a:xfrm>
          <a:prstGeom prst="rect">
            <a:avLst/>
          </a:prstGeom>
          <a:solidFill>
            <a:srgbClr val="EA5D0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00">
              <a:latin typeface="+mj-lt"/>
            </a:endParaRPr>
          </a:p>
        </p:txBody>
      </p:sp>
      <p:sp>
        <p:nvSpPr>
          <p:cNvPr id="12" name="CuadroTexto 11"/>
          <p:cNvSpPr txBox="1"/>
          <p:nvPr userDrawn="1"/>
        </p:nvSpPr>
        <p:spPr>
          <a:xfrm>
            <a:off x="6711703" y="936341"/>
            <a:ext cx="184731" cy="369332"/>
          </a:xfrm>
          <a:prstGeom prst="rect">
            <a:avLst/>
          </a:prstGeom>
          <a:noFill/>
        </p:spPr>
        <p:txBody>
          <a:bodyPr wrap="none" rtlCol="0">
            <a:spAutoFit/>
          </a:bodyPr>
          <a:lstStyle/>
          <a:p>
            <a:endParaRPr lang="es-ES" sz="1800"/>
          </a:p>
        </p:txBody>
      </p:sp>
      <p:sp>
        <p:nvSpPr>
          <p:cNvPr id="14" name="Marcador de número de diapositiva 5"/>
          <p:cNvSpPr txBox="1">
            <a:spLocks/>
          </p:cNvSpPr>
          <p:nvPr userDrawn="1"/>
        </p:nvSpPr>
        <p:spPr>
          <a:xfrm>
            <a:off x="9706480" y="6476487"/>
            <a:ext cx="2324449" cy="345053"/>
          </a:xfrm>
          <a:prstGeom prst="rect">
            <a:avLst/>
          </a:prstGeom>
        </p:spPr>
        <p:txBody>
          <a:bodyPr vert="horz" lIns="91440" tIns="45720" rIns="91440" bIns="45720" rtlCol="0" anchor="ctr"/>
          <a:lstStyle>
            <a:defPPr>
              <a:defRPr lang="es-ES"/>
            </a:defPPr>
            <a:lvl1pPr marL="0" algn="r" defTabSz="457200" rtl="0" eaLnBrk="1" latinLnBrk="0" hangingPunct="1">
              <a:defRPr sz="1500" b="1" i="0" kern="1200">
                <a:solidFill>
                  <a:schemeClr val="bg1"/>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DF21B4A-72A8-B348-9A69-BF950F00FC08}" type="slidenum">
              <a:rPr lang="es-ES" sz="1500" smtClean="0">
                <a:solidFill>
                  <a:schemeClr val="bg1"/>
                </a:solidFill>
                <a:latin typeface="+mj-lt"/>
              </a:rPr>
              <a:pPr/>
              <a:t>‹#›</a:t>
            </a:fld>
            <a:endParaRPr lang="es-ES" sz="1500">
              <a:solidFill>
                <a:schemeClr val="bg1"/>
              </a:solidFill>
              <a:latin typeface="+mj-lt"/>
            </a:endParaRPr>
          </a:p>
        </p:txBody>
      </p:sp>
      <p:sp>
        <p:nvSpPr>
          <p:cNvPr id="10" name="CuadroTexto 9"/>
          <p:cNvSpPr txBox="1"/>
          <p:nvPr userDrawn="1"/>
        </p:nvSpPr>
        <p:spPr>
          <a:xfrm>
            <a:off x="110432" y="6498762"/>
            <a:ext cx="1780169" cy="323165"/>
          </a:xfrm>
          <a:prstGeom prst="rect">
            <a:avLst/>
          </a:prstGeom>
          <a:noFill/>
        </p:spPr>
        <p:txBody>
          <a:bodyPr wrap="square" rtlCol="0">
            <a:spAutoFit/>
          </a:bodyPr>
          <a:lstStyle/>
          <a:p>
            <a:r>
              <a:rPr lang="es-ES" sz="1500" b="1" i="0" dirty="0">
                <a:solidFill>
                  <a:schemeClr val="bg1"/>
                </a:solidFill>
                <a:latin typeface="+mj-lt"/>
                <a:cs typeface="Open Sans"/>
              </a:rPr>
              <a:t>MedOPP213</a:t>
            </a:r>
          </a:p>
        </p:txBody>
      </p:sp>
      <p:sp>
        <p:nvSpPr>
          <p:cNvPr id="13" name="CuadroTexto 12"/>
          <p:cNvSpPr txBox="1"/>
          <p:nvPr userDrawn="1"/>
        </p:nvSpPr>
        <p:spPr>
          <a:xfrm>
            <a:off x="3484429" y="6504772"/>
            <a:ext cx="5849361" cy="323165"/>
          </a:xfrm>
          <a:prstGeom prst="rect">
            <a:avLst/>
          </a:prstGeom>
          <a:noFill/>
        </p:spPr>
        <p:txBody>
          <a:bodyPr wrap="square" rtlCol="0">
            <a:spAutoFit/>
          </a:bodyPr>
          <a:lstStyle/>
          <a:p>
            <a:r>
              <a:rPr lang="es-ES" sz="1500" b="1" i="0">
                <a:solidFill>
                  <a:schemeClr val="bg1"/>
                </a:solidFill>
                <a:latin typeface="+mj-lt"/>
                <a:cs typeface="Open Sans"/>
              </a:rPr>
              <a:t>MedSIR - CONFIDENTIAL INFORMATION </a:t>
            </a:r>
          </a:p>
        </p:txBody>
      </p:sp>
    </p:spTree>
    <p:extLst>
      <p:ext uri="{BB962C8B-B14F-4D97-AF65-F5344CB8AC3E}">
        <p14:creationId xmlns:p14="http://schemas.microsoft.com/office/powerpoint/2010/main" val="8223092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Dark-Blank">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A7FA247-99B5-4ADB-813E-965729C5E268}"/>
              </a:ext>
            </a:extLst>
          </p:cNvPr>
          <p:cNvGraphicFramePr>
            <a:graphicFrameLocks noChangeAspect="1"/>
          </p:cNvGraphicFramePr>
          <p:nvPr userDrawn="1">
            <p:custDataLst>
              <p:tags r:id="rId2"/>
            </p:custDataLst>
            <p:extLst>
              <p:ext uri="{D42A27DB-BD31-4B8C-83A1-F6EECF244321}">
                <p14:modId xmlns:p14="http://schemas.microsoft.com/office/powerpoint/2010/main" val="8178867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362"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8A7FA247-99B5-4ADB-813E-965729C5E26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9" name="Picture 28">
            <a:extLst>
              <a:ext uri="{FF2B5EF4-FFF2-40B4-BE49-F238E27FC236}">
                <a16:creationId xmlns:a16="http://schemas.microsoft.com/office/drawing/2014/main" id="{30CC3729-B142-4652-94BA-E9002F80F6D2}"/>
              </a:ext>
            </a:extLst>
          </p:cNvPr>
          <p:cNvPicPr>
            <a:picLocks noChangeAspect="1"/>
          </p:cNvPicPr>
          <p:nvPr userDrawn="1"/>
        </p:nvPicPr>
        <p:blipFill rotWithShape="1">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t="16250" b="16250"/>
          <a:stretch/>
        </p:blipFill>
        <p:spPr>
          <a:xfrm flipH="1">
            <a:off x="0" y="0"/>
            <a:ext cx="12192000" cy="6858000"/>
          </a:xfrm>
          <a:prstGeom prst="rect">
            <a:avLst/>
          </a:prstGeom>
        </p:spPr>
      </p:pic>
      <p:sp>
        <p:nvSpPr>
          <p:cNvPr id="27" name="Rectangle 26">
            <a:extLst>
              <a:ext uri="{FF2B5EF4-FFF2-40B4-BE49-F238E27FC236}">
                <a16:creationId xmlns:a16="http://schemas.microsoft.com/office/drawing/2014/main" id="{886B6566-AF84-4725-BEAA-552290073FBA}"/>
              </a:ext>
            </a:extLst>
          </p:cNvPr>
          <p:cNvSpPr/>
          <p:nvPr userDrawn="1"/>
        </p:nvSpPr>
        <p:spPr>
          <a:xfrm flipH="1">
            <a:off x="-8724" y="-22226"/>
            <a:ext cx="6977214" cy="6717665"/>
          </a:xfrm>
          <a:custGeom>
            <a:avLst/>
            <a:gdLst>
              <a:gd name="connsiteX0" fmla="*/ 0 w 4626092"/>
              <a:gd name="connsiteY0" fmla="*/ 0 h 4572000"/>
              <a:gd name="connsiteX1" fmla="*/ 4626092 w 4626092"/>
              <a:gd name="connsiteY1" fmla="*/ 0 h 4572000"/>
              <a:gd name="connsiteX2" fmla="*/ 4626092 w 4626092"/>
              <a:gd name="connsiteY2" fmla="*/ 4572000 h 4572000"/>
              <a:gd name="connsiteX3" fmla="*/ 0 w 4626092"/>
              <a:gd name="connsiteY3" fmla="*/ 4572000 h 4572000"/>
              <a:gd name="connsiteX4" fmla="*/ 0 w 4626092"/>
              <a:gd name="connsiteY4" fmla="*/ 0 h 4572000"/>
              <a:gd name="connsiteX0" fmla="*/ 0 w 4640606"/>
              <a:gd name="connsiteY0" fmla="*/ 0 h 5776686"/>
              <a:gd name="connsiteX1" fmla="*/ 4626092 w 4640606"/>
              <a:gd name="connsiteY1" fmla="*/ 0 h 5776686"/>
              <a:gd name="connsiteX2" fmla="*/ 4640606 w 4640606"/>
              <a:gd name="connsiteY2" fmla="*/ 5776686 h 5776686"/>
              <a:gd name="connsiteX3" fmla="*/ 0 w 4640606"/>
              <a:gd name="connsiteY3" fmla="*/ 4572000 h 5776686"/>
              <a:gd name="connsiteX4" fmla="*/ 0 w 4640606"/>
              <a:gd name="connsiteY4" fmla="*/ 0 h 5776686"/>
              <a:gd name="connsiteX0" fmla="*/ 0 w 4640606"/>
              <a:gd name="connsiteY0" fmla="*/ 0 h 5776686"/>
              <a:gd name="connsiteX1" fmla="*/ 4626092 w 4640606"/>
              <a:gd name="connsiteY1" fmla="*/ 0 h 5776686"/>
              <a:gd name="connsiteX2" fmla="*/ 4640606 w 4640606"/>
              <a:gd name="connsiteY2" fmla="*/ 5776686 h 5776686"/>
              <a:gd name="connsiteX3" fmla="*/ 0 w 4640606"/>
              <a:gd name="connsiteY3" fmla="*/ 4572000 h 5776686"/>
              <a:gd name="connsiteX4" fmla="*/ 5106 w 4640606"/>
              <a:gd name="connsiteY4" fmla="*/ 1447800 h 5776686"/>
              <a:gd name="connsiteX5" fmla="*/ 0 w 4640606"/>
              <a:gd name="connsiteY5" fmla="*/ 0 h 5776686"/>
              <a:gd name="connsiteX0" fmla="*/ 0 w 7714006"/>
              <a:gd name="connsiteY0" fmla="*/ 0 h 5789386"/>
              <a:gd name="connsiteX1" fmla="*/ 7699492 w 7714006"/>
              <a:gd name="connsiteY1" fmla="*/ 12700 h 5789386"/>
              <a:gd name="connsiteX2" fmla="*/ 7714006 w 7714006"/>
              <a:gd name="connsiteY2" fmla="*/ 5789386 h 5789386"/>
              <a:gd name="connsiteX3" fmla="*/ 3073400 w 7714006"/>
              <a:gd name="connsiteY3" fmla="*/ 4584700 h 5789386"/>
              <a:gd name="connsiteX4" fmla="*/ 3078506 w 7714006"/>
              <a:gd name="connsiteY4" fmla="*/ 1460500 h 5789386"/>
              <a:gd name="connsiteX5" fmla="*/ 0 w 7714006"/>
              <a:gd name="connsiteY5" fmla="*/ 0 h 5789386"/>
              <a:gd name="connsiteX0" fmla="*/ 0 w 7714006"/>
              <a:gd name="connsiteY0" fmla="*/ 0 h 6894286"/>
              <a:gd name="connsiteX1" fmla="*/ 7699492 w 7714006"/>
              <a:gd name="connsiteY1" fmla="*/ 12700 h 6894286"/>
              <a:gd name="connsiteX2" fmla="*/ 7714006 w 7714006"/>
              <a:gd name="connsiteY2" fmla="*/ 6894286 h 6894286"/>
              <a:gd name="connsiteX3" fmla="*/ 3073400 w 7714006"/>
              <a:gd name="connsiteY3" fmla="*/ 4584700 h 6894286"/>
              <a:gd name="connsiteX4" fmla="*/ 3078506 w 7714006"/>
              <a:gd name="connsiteY4" fmla="*/ 1460500 h 6894286"/>
              <a:gd name="connsiteX5" fmla="*/ 0 w 7714006"/>
              <a:gd name="connsiteY5"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6367806 w 7714006"/>
              <a:gd name="connsiteY3" fmla="*/ 6248400 h 6894286"/>
              <a:gd name="connsiteX4" fmla="*/ 3073400 w 7714006"/>
              <a:gd name="connsiteY4" fmla="*/ 4584700 h 6894286"/>
              <a:gd name="connsiteX5" fmla="*/ 3078506 w 7714006"/>
              <a:gd name="connsiteY5" fmla="*/ 1460500 h 6894286"/>
              <a:gd name="connsiteX6" fmla="*/ 0 w 7714006"/>
              <a:gd name="connsiteY6"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5885206 w 7714006"/>
              <a:gd name="connsiteY3" fmla="*/ 6858000 h 6894286"/>
              <a:gd name="connsiteX4" fmla="*/ 3073400 w 7714006"/>
              <a:gd name="connsiteY4" fmla="*/ 4584700 h 6894286"/>
              <a:gd name="connsiteX5" fmla="*/ 3078506 w 7714006"/>
              <a:gd name="connsiteY5" fmla="*/ 1460500 h 6894286"/>
              <a:gd name="connsiteX6" fmla="*/ 0 w 7714006"/>
              <a:gd name="connsiteY6"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5885206 w 7714006"/>
              <a:gd name="connsiteY3" fmla="*/ 6858000 h 6894286"/>
              <a:gd name="connsiteX4" fmla="*/ 3073400 w 7714006"/>
              <a:gd name="connsiteY4" fmla="*/ 4584700 h 6894286"/>
              <a:gd name="connsiteX5" fmla="*/ 3078506 w 7714006"/>
              <a:gd name="connsiteY5" fmla="*/ 1460500 h 6894286"/>
              <a:gd name="connsiteX6" fmla="*/ 2100606 w 7714006"/>
              <a:gd name="connsiteY6" fmla="*/ 1003300 h 6894286"/>
              <a:gd name="connsiteX7" fmla="*/ 0 w 7714006"/>
              <a:gd name="connsiteY7"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5885206 w 7714006"/>
              <a:gd name="connsiteY3" fmla="*/ 6858000 h 6894286"/>
              <a:gd name="connsiteX4" fmla="*/ 3073400 w 7714006"/>
              <a:gd name="connsiteY4" fmla="*/ 4584700 h 6894286"/>
              <a:gd name="connsiteX5" fmla="*/ 3078506 w 7714006"/>
              <a:gd name="connsiteY5" fmla="*/ 1460500 h 6894286"/>
              <a:gd name="connsiteX6" fmla="*/ 2291106 w 7714006"/>
              <a:gd name="connsiteY6" fmla="*/ 558800 h 6894286"/>
              <a:gd name="connsiteX7" fmla="*/ 0 w 7714006"/>
              <a:gd name="connsiteY7"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5885206 w 7714006"/>
              <a:gd name="connsiteY3" fmla="*/ 6858000 h 6894286"/>
              <a:gd name="connsiteX4" fmla="*/ 3073400 w 7714006"/>
              <a:gd name="connsiteY4" fmla="*/ 4584700 h 6894286"/>
              <a:gd name="connsiteX5" fmla="*/ 3078506 w 7714006"/>
              <a:gd name="connsiteY5" fmla="*/ 1460500 h 6894286"/>
              <a:gd name="connsiteX6" fmla="*/ 2291106 w 7714006"/>
              <a:gd name="connsiteY6" fmla="*/ 558800 h 6894286"/>
              <a:gd name="connsiteX7" fmla="*/ 1097306 w 7714006"/>
              <a:gd name="connsiteY7" fmla="*/ 292100 h 6894286"/>
              <a:gd name="connsiteX8" fmla="*/ 0 w 7714006"/>
              <a:gd name="connsiteY8"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5885206 w 7714006"/>
              <a:gd name="connsiteY3" fmla="*/ 6858000 h 6894286"/>
              <a:gd name="connsiteX4" fmla="*/ 3073400 w 7714006"/>
              <a:gd name="connsiteY4" fmla="*/ 4584700 h 6894286"/>
              <a:gd name="connsiteX5" fmla="*/ 3078506 w 7714006"/>
              <a:gd name="connsiteY5" fmla="*/ 1460500 h 6894286"/>
              <a:gd name="connsiteX6" fmla="*/ 2291106 w 7714006"/>
              <a:gd name="connsiteY6" fmla="*/ 558800 h 6894286"/>
              <a:gd name="connsiteX7" fmla="*/ 1262406 w 7714006"/>
              <a:gd name="connsiteY7" fmla="*/ 177800 h 6894286"/>
              <a:gd name="connsiteX8" fmla="*/ 0 w 7714006"/>
              <a:gd name="connsiteY8"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5885206 w 7714006"/>
              <a:gd name="connsiteY3" fmla="*/ 6858000 h 6894286"/>
              <a:gd name="connsiteX4" fmla="*/ 3073400 w 7714006"/>
              <a:gd name="connsiteY4" fmla="*/ 4584700 h 6894286"/>
              <a:gd name="connsiteX5" fmla="*/ 3078506 w 7714006"/>
              <a:gd name="connsiteY5" fmla="*/ 1460500 h 6894286"/>
              <a:gd name="connsiteX6" fmla="*/ 2722906 w 7714006"/>
              <a:gd name="connsiteY6" fmla="*/ 1066800 h 6894286"/>
              <a:gd name="connsiteX7" fmla="*/ 2291106 w 7714006"/>
              <a:gd name="connsiteY7" fmla="*/ 558800 h 6894286"/>
              <a:gd name="connsiteX8" fmla="*/ 1262406 w 7714006"/>
              <a:gd name="connsiteY8" fmla="*/ 177800 h 6894286"/>
              <a:gd name="connsiteX9" fmla="*/ 0 w 7714006"/>
              <a:gd name="connsiteY9"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5885206 w 7714006"/>
              <a:gd name="connsiteY3" fmla="*/ 6858000 h 6894286"/>
              <a:gd name="connsiteX4" fmla="*/ 3073400 w 7714006"/>
              <a:gd name="connsiteY4" fmla="*/ 4584700 h 6894286"/>
              <a:gd name="connsiteX5" fmla="*/ 3078506 w 7714006"/>
              <a:gd name="connsiteY5" fmla="*/ 1460500 h 6894286"/>
              <a:gd name="connsiteX6" fmla="*/ 2786406 w 7714006"/>
              <a:gd name="connsiteY6" fmla="*/ 1028700 h 6894286"/>
              <a:gd name="connsiteX7" fmla="*/ 2291106 w 7714006"/>
              <a:gd name="connsiteY7" fmla="*/ 558800 h 6894286"/>
              <a:gd name="connsiteX8" fmla="*/ 1262406 w 7714006"/>
              <a:gd name="connsiteY8" fmla="*/ 177800 h 6894286"/>
              <a:gd name="connsiteX9" fmla="*/ 0 w 7714006"/>
              <a:gd name="connsiteY9"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5885206 w 7714006"/>
              <a:gd name="connsiteY3" fmla="*/ 6858000 h 6894286"/>
              <a:gd name="connsiteX4" fmla="*/ 3073400 w 7714006"/>
              <a:gd name="connsiteY4" fmla="*/ 4584700 h 6894286"/>
              <a:gd name="connsiteX5" fmla="*/ 3078506 w 7714006"/>
              <a:gd name="connsiteY5" fmla="*/ 2743200 h 6894286"/>
              <a:gd name="connsiteX6" fmla="*/ 3078506 w 7714006"/>
              <a:gd name="connsiteY6" fmla="*/ 1460500 h 6894286"/>
              <a:gd name="connsiteX7" fmla="*/ 2786406 w 7714006"/>
              <a:gd name="connsiteY7" fmla="*/ 1028700 h 6894286"/>
              <a:gd name="connsiteX8" fmla="*/ 2291106 w 7714006"/>
              <a:gd name="connsiteY8" fmla="*/ 558800 h 6894286"/>
              <a:gd name="connsiteX9" fmla="*/ 1262406 w 7714006"/>
              <a:gd name="connsiteY9" fmla="*/ 177800 h 6894286"/>
              <a:gd name="connsiteX10" fmla="*/ 0 w 7714006"/>
              <a:gd name="connsiteY10"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5885206 w 7714006"/>
              <a:gd name="connsiteY3" fmla="*/ 6858000 h 6894286"/>
              <a:gd name="connsiteX4" fmla="*/ 3073400 w 7714006"/>
              <a:gd name="connsiteY4" fmla="*/ 4584700 h 6894286"/>
              <a:gd name="connsiteX5" fmla="*/ 3205506 w 7714006"/>
              <a:gd name="connsiteY5" fmla="*/ 2641600 h 6894286"/>
              <a:gd name="connsiteX6" fmla="*/ 3078506 w 7714006"/>
              <a:gd name="connsiteY6" fmla="*/ 1460500 h 6894286"/>
              <a:gd name="connsiteX7" fmla="*/ 2786406 w 7714006"/>
              <a:gd name="connsiteY7" fmla="*/ 1028700 h 6894286"/>
              <a:gd name="connsiteX8" fmla="*/ 2291106 w 7714006"/>
              <a:gd name="connsiteY8" fmla="*/ 558800 h 6894286"/>
              <a:gd name="connsiteX9" fmla="*/ 1262406 w 7714006"/>
              <a:gd name="connsiteY9" fmla="*/ 177800 h 6894286"/>
              <a:gd name="connsiteX10" fmla="*/ 0 w 7714006"/>
              <a:gd name="connsiteY10"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5885206 w 7714006"/>
              <a:gd name="connsiteY3" fmla="*/ 6858000 h 6894286"/>
              <a:gd name="connsiteX4" fmla="*/ 3073400 w 7714006"/>
              <a:gd name="connsiteY4" fmla="*/ 4584700 h 6894286"/>
              <a:gd name="connsiteX5" fmla="*/ 3116606 w 7714006"/>
              <a:gd name="connsiteY5" fmla="*/ 3898900 h 6894286"/>
              <a:gd name="connsiteX6" fmla="*/ 3205506 w 7714006"/>
              <a:gd name="connsiteY6" fmla="*/ 2641600 h 6894286"/>
              <a:gd name="connsiteX7" fmla="*/ 3078506 w 7714006"/>
              <a:gd name="connsiteY7" fmla="*/ 1460500 h 6894286"/>
              <a:gd name="connsiteX8" fmla="*/ 2786406 w 7714006"/>
              <a:gd name="connsiteY8" fmla="*/ 1028700 h 6894286"/>
              <a:gd name="connsiteX9" fmla="*/ 2291106 w 7714006"/>
              <a:gd name="connsiteY9" fmla="*/ 558800 h 6894286"/>
              <a:gd name="connsiteX10" fmla="*/ 1262406 w 7714006"/>
              <a:gd name="connsiteY10" fmla="*/ 177800 h 6894286"/>
              <a:gd name="connsiteX11" fmla="*/ 0 w 7714006"/>
              <a:gd name="connsiteY11"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5885206 w 7714006"/>
              <a:gd name="connsiteY3" fmla="*/ 6858000 h 6894286"/>
              <a:gd name="connsiteX4" fmla="*/ 3073400 w 7714006"/>
              <a:gd name="connsiteY4" fmla="*/ 4584700 h 6894286"/>
              <a:gd name="connsiteX5" fmla="*/ 3015006 w 7714006"/>
              <a:gd name="connsiteY5" fmla="*/ 3860800 h 6894286"/>
              <a:gd name="connsiteX6" fmla="*/ 3205506 w 7714006"/>
              <a:gd name="connsiteY6" fmla="*/ 2641600 h 6894286"/>
              <a:gd name="connsiteX7" fmla="*/ 3078506 w 7714006"/>
              <a:gd name="connsiteY7" fmla="*/ 1460500 h 6894286"/>
              <a:gd name="connsiteX8" fmla="*/ 2786406 w 7714006"/>
              <a:gd name="connsiteY8" fmla="*/ 1028700 h 6894286"/>
              <a:gd name="connsiteX9" fmla="*/ 2291106 w 7714006"/>
              <a:gd name="connsiteY9" fmla="*/ 558800 h 6894286"/>
              <a:gd name="connsiteX10" fmla="*/ 1262406 w 7714006"/>
              <a:gd name="connsiteY10" fmla="*/ 177800 h 6894286"/>
              <a:gd name="connsiteX11" fmla="*/ 0 w 7714006"/>
              <a:gd name="connsiteY11"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5885206 w 7714006"/>
              <a:gd name="connsiteY3" fmla="*/ 6858000 h 6894286"/>
              <a:gd name="connsiteX4" fmla="*/ 3073400 w 7714006"/>
              <a:gd name="connsiteY4" fmla="*/ 4584700 h 6894286"/>
              <a:gd name="connsiteX5" fmla="*/ 3040406 w 7714006"/>
              <a:gd name="connsiteY5" fmla="*/ 4356100 h 6894286"/>
              <a:gd name="connsiteX6" fmla="*/ 3015006 w 7714006"/>
              <a:gd name="connsiteY6" fmla="*/ 3860800 h 6894286"/>
              <a:gd name="connsiteX7" fmla="*/ 3205506 w 7714006"/>
              <a:gd name="connsiteY7" fmla="*/ 2641600 h 6894286"/>
              <a:gd name="connsiteX8" fmla="*/ 3078506 w 7714006"/>
              <a:gd name="connsiteY8" fmla="*/ 1460500 h 6894286"/>
              <a:gd name="connsiteX9" fmla="*/ 2786406 w 7714006"/>
              <a:gd name="connsiteY9" fmla="*/ 1028700 h 6894286"/>
              <a:gd name="connsiteX10" fmla="*/ 2291106 w 7714006"/>
              <a:gd name="connsiteY10" fmla="*/ 558800 h 6894286"/>
              <a:gd name="connsiteX11" fmla="*/ 1262406 w 7714006"/>
              <a:gd name="connsiteY11" fmla="*/ 177800 h 6894286"/>
              <a:gd name="connsiteX12" fmla="*/ 0 w 7714006"/>
              <a:gd name="connsiteY12"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5885206 w 7714006"/>
              <a:gd name="connsiteY3" fmla="*/ 6858000 h 6894286"/>
              <a:gd name="connsiteX4" fmla="*/ 3073400 w 7714006"/>
              <a:gd name="connsiteY4" fmla="*/ 4584700 h 6894286"/>
              <a:gd name="connsiteX5" fmla="*/ 2951506 w 7714006"/>
              <a:gd name="connsiteY5" fmla="*/ 4356100 h 6894286"/>
              <a:gd name="connsiteX6" fmla="*/ 3015006 w 7714006"/>
              <a:gd name="connsiteY6" fmla="*/ 3860800 h 6894286"/>
              <a:gd name="connsiteX7" fmla="*/ 3205506 w 7714006"/>
              <a:gd name="connsiteY7" fmla="*/ 2641600 h 6894286"/>
              <a:gd name="connsiteX8" fmla="*/ 3078506 w 7714006"/>
              <a:gd name="connsiteY8" fmla="*/ 1460500 h 6894286"/>
              <a:gd name="connsiteX9" fmla="*/ 2786406 w 7714006"/>
              <a:gd name="connsiteY9" fmla="*/ 1028700 h 6894286"/>
              <a:gd name="connsiteX10" fmla="*/ 2291106 w 7714006"/>
              <a:gd name="connsiteY10" fmla="*/ 558800 h 6894286"/>
              <a:gd name="connsiteX11" fmla="*/ 1262406 w 7714006"/>
              <a:gd name="connsiteY11" fmla="*/ 177800 h 6894286"/>
              <a:gd name="connsiteX12" fmla="*/ 0 w 7714006"/>
              <a:gd name="connsiteY12"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5885206 w 7714006"/>
              <a:gd name="connsiteY3" fmla="*/ 6858000 h 6894286"/>
              <a:gd name="connsiteX4" fmla="*/ 3218206 w 7714006"/>
              <a:gd name="connsiteY4" fmla="*/ 4711700 h 6894286"/>
              <a:gd name="connsiteX5" fmla="*/ 3073400 w 7714006"/>
              <a:gd name="connsiteY5" fmla="*/ 4584700 h 6894286"/>
              <a:gd name="connsiteX6" fmla="*/ 2951506 w 7714006"/>
              <a:gd name="connsiteY6" fmla="*/ 4356100 h 6894286"/>
              <a:gd name="connsiteX7" fmla="*/ 3015006 w 7714006"/>
              <a:gd name="connsiteY7" fmla="*/ 3860800 h 6894286"/>
              <a:gd name="connsiteX8" fmla="*/ 3205506 w 7714006"/>
              <a:gd name="connsiteY8" fmla="*/ 2641600 h 6894286"/>
              <a:gd name="connsiteX9" fmla="*/ 3078506 w 7714006"/>
              <a:gd name="connsiteY9" fmla="*/ 1460500 h 6894286"/>
              <a:gd name="connsiteX10" fmla="*/ 2786406 w 7714006"/>
              <a:gd name="connsiteY10" fmla="*/ 1028700 h 6894286"/>
              <a:gd name="connsiteX11" fmla="*/ 2291106 w 7714006"/>
              <a:gd name="connsiteY11" fmla="*/ 558800 h 6894286"/>
              <a:gd name="connsiteX12" fmla="*/ 1262406 w 7714006"/>
              <a:gd name="connsiteY12" fmla="*/ 177800 h 6894286"/>
              <a:gd name="connsiteX13" fmla="*/ 0 w 7714006"/>
              <a:gd name="connsiteY13"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5885206 w 7714006"/>
              <a:gd name="connsiteY3" fmla="*/ 6858000 h 6894286"/>
              <a:gd name="connsiteX4" fmla="*/ 2951506 w 7714006"/>
              <a:gd name="connsiteY4" fmla="*/ 5003800 h 6894286"/>
              <a:gd name="connsiteX5" fmla="*/ 3073400 w 7714006"/>
              <a:gd name="connsiteY5" fmla="*/ 4584700 h 6894286"/>
              <a:gd name="connsiteX6" fmla="*/ 2951506 w 7714006"/>
              <a:gd name="connsiteY6" fmla="*/ 4356100 h 6894286"/>
              <a:gd name="connsiteX7" fmla="*/ 3015006 w 7714006"/>
              <a:gd name="connsiteY7" fmla="*/ 3860800 h 6894286"/>
              <a:gd name="connsiteX8" fmla="*/ 3205506 w 7714006"/>
              <a:gd name="connsiteY8" fmla="*/ 2641600 h 6894286"/>
              <a:gd name="connsiteX9" fmla="*/ 3078506 w 7714006"/>
              <a:gd name="connsiteY9" fmla="*/ 1460500 h 6894286"/>
              <a:gd name="connsiteX10" fmla="*/ 2786406 w 7714006"/>
              <a:gd name="connsiteY10" fmla="*/ 1028700 h 6894286"/>
              <a:gd name="connsiteX11" fmla="*/ 2291106 w 7714006"/>
              <a:gd name="connsiteY11" fmla="*/ 558800 h 6894286"/>
              <a:gd name="connsiteX12" fmla="*/ 1262406 w 7714006"/>
              <a:gd name="connsiteY12" fmla="*/ 177800 h 6894286"/>
              <a:gd name="connsiteX13" fmla="*/ 0 w 7714006"/>
              <a:gd name="connsiteY13"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5885206 w 7714006"/>
              <a:gd name="connsiteY3" fmla="*/ 6858000 h 6894286"/>
              <a:gd name="connsiteX4" fmla="*/ 2951506 w 7714006"/>
              <a:gd name="connsiteY4" fmla="*/ 5003800 h 6894286"/>
              <a:gd name="connsiteX5" fmla="*/ 2921000 w 7714006"/>
              <a:gd name="connsiteY5" fmla="*/ 4584700 h 6894286"/>
              <a:gd name="connsiteX6" fmla="*/ 2951506 w 7714006"/>
              <a:gd name="connsiteY6" fmla="*/ 4356100 h 6894286"/>
              <a:gd name="connsiteX7" fmla="*/ 3015006 w 7714006"/>
              <a:gd name="connsiteY7" fmla="*/ 3860800 h 6894286"/>
              <a:gd name="connsiteX8" fmla="*/ 3205506 w 7714006"/>
              <a:gd name="connsiteY8" fmla="*/ 2641600 h 6894286"/>
              <a:gd name="connsiteX9" fmla="*/ 3078506 w 7714006"/>
              <a:gd name="connsiteY9" fmla="*/ 1460500 h 6894286"/>
              <a:gd name="connsiteX10" fmla="*/ 2786406 w 7714006"/>
              <a:gd name="connsiteY10" fmla="*/ 1028700 h 6894286"/>
              <a:gd name="connsiteX11" fmla="*/ 2291106 w 7714006"/>
              <a:gd name="connsiteY11" fmla="*/ 558800 h 6894286"/>
              <a:gd name="connsiteX12" fmla="*/ 1262406 w 7714006"/>
              <a:gd name="connsiteY12" fmla="*/ 177800 h 6894286"/>
              <a:gd name="connsiteX13" fmla="*/ 0 w 7714006"/>
              <a:gd name="connsiteY13"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5885206 w 7714006"/>
              <a:gd name="connsiteY3" fmla="*/ 6858000 h 6894286"/>
              <a:gd name="connsiteX4" fmla="*/ 3269006 w 7714006"/>
              <a:gd name="connsiteY4" fmla="*/ 5207000 h 6894286"/>
              <a:gd name="connsiteX5" fmla="*/ 2951506 w 7714006"/>
              <a:gd name="connsiteY5" fmla="*/ 5003800 h 6894286"/>
              <a:gd name="connsiteX6" fmla="*/ 2921000 w 7714006"/>
              <a:gd name="connsiteY6" fmla="*/ 4584700 h 6894286"/>
              <a:gd name="connsiteX7" fmla="*/ 2951506 w 7714006"/>
              <a:gd name="connsiteY7" fmla="*/ 4356100 h 6894286"/>
              <a:gd name="connsiteX8" fmla="*/ 3015006 w 7714006"/>
              <a:gd name="connsiteY8" fmla="*/ 3860800 h 6894286"/>
              <a:gd name="connsiteX9" fmla="*/ 3205506 w 7714006"/>
              <a:gd name="connsiteY9" fmla="*/ 2641600 h 6894286"/>
              <a:gd name="connsiteX10" fmla="*/ 3078506 w 7714006"/>
              <a:gd name="connsiteY10" fmla="*/ 1460500 h 6894286"/>
              <a:gd name="connsiteX11" fmla="*/ 2786406 w 7714006"/>
              <a:gd name="connsiteY11" fmla="*/ 1028700 h 6894286"/>
              <a:gd name="connsiteX12" fmla="*/ 2291106 w 7714006"/>
              <a:gd name="connsiteY12" fmla="*/ 558800 h 6894286"/>
              <a:gd name="connsiteX13" fmla="*/ 1262406 w 7714006"/>
              <a:gd name="connsiteY13" fmla="*/ 177800 h 6894286"/>
              <a:gd name="connsiteX14" fmla="*/ 0 w 7714006"/>
              <a:gd name="connsiteY14"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5885206 w 7714006"/>
              <a:gd name="connsiteY3" fmla="*/ 6858000 h 6894286"/>
              <a:gd name="connsiteX4" fmla="*/ 3192806 w 7714006"/>
              <a:gd name="connsiteY4" fmla="*/ 5549900 h 6894286"/>
              <a:gd name="connsiteX5" fmla="*/ 2951506 w 7714006"/>
              <a:gd name="connsiteY5" fmla="*/ 5003800 h 6894286"/>
              <a:gd name="connsiteX6" fmla="*/ 2921000 w 7714006"/>
              <a:gd name="connsiteY6" fmla="*/ 4584700 h 6894286"/>
              <a:gd name="connsiteX7" fmla="*/ 2951506 w 7714006"/>
              <a:gd name="connsiteY7" fmla="*/ 4356100 h 6894286"/>
              <a:gd name="connsiteX8" fmla="*/ 3015006 w 7714006"/>
              <a:gd name="connsiteY8" fmla="*/ 3860800 h 6894286"/>
              <a:gd name="connsiteX9" fmla="*/ 3205506 w 7714006"/>
              <a:gd name="connsiteY9" fmla="*/ 2641600 h 6894286"/>
              <a:gd name="connsiteX10" fmla="*/ 3078506 w 7714006"/>
              <a:gd name="connsiteY10" fmla="*/ 1460500 h 6894286"/>
              <a:gd name="connsiteX11" fmla="*/ 2786406 w 7714006"/>
              <a:gd name="connsiteY11" fmla="*/ 1028700 h 6894286"/>
              <a:gd name="connsiteX12" fmla="*/ 2291106 w 7714006"/>
              <a:gd name="connsiteY12" fmla="*/ 558800 h 6894286"/>
              <a:gd name="connsiteX13" fmla="*/ 1262406 w 7714006"/>
              <a:gd name="connsiteY13" fmla="*/ 177800 h 6894286"/>
              <a:gd name="connsiteX14" fmla="*/ 0 w 7714006"/>
              <a:gd name="connsiteY14"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5885206 w 7714006"/>
              <a:gd name="connsiteY3" fmla="*/ 6858000 h 6894286"/>
              <a:gd name="connsiteX4" fmla="*/ 3675406 w 7714006"/>
              <a:gd name="connsiteY4" fmla="*/ 5803900 h 6894286"/>
              <a:gd name="connsiteX5" fmla="*/ 3192806 w 7714006"/>
              <a:gd name="connsiteY5" fmla="*/ 5549900 h 6894286"/>
              <a:gd name="connsiteX6" fmla="*/ 2951506 w 7714006"/>
              <a:gd name="connsiteY6" fmla="*/ 5003800 h 6894286"/>
              <a:gd name="connsiteX7" fmla="*/ 2921000 w 7714006"/>
              <a:gd name="connsiteY7" fmla="*/ 4584700 h 6894286"/>
              <a:gd name="connsiteX8" fmla="*/ 2951506 w 7714006"/>
              <a:gd name="connsiteY8" fmla="*/ 4356100 h 6894286"/>
              <a:gd name="connsiteX9" fmla="*/ 3015006 w 7714006"/>
              <a:gd name="connsiteY9" fmla="*/ 3860800 h 6894286"/>
              <a:gd name="connsiteX10" fmla="*/ 3205506 w 7714006"/>
              <a:gd name="connsiteY10" fmla="*/ 2641600 h 6894286"/>
              <a:gd name="connsiteX11" fmla="*/ 3078506 w 7714006"/>
              <a:gd name="connsiteY11" fmla="*/ 1460500 h 6894286"/>
              <a:gd name="connsiteX12" fmla="*/ 2786406 w 7714006"/>
              <a:gd name="connsiteY12" fmla="*/ 1028700 h 6894286"/>
              <a:gd name="connsiteX13" fmla="*/ 2291106 w 7714006"/>
              <a:gd name="connsiteY13" fmla="*/ 558800 h 6894286"/>
              <a:gd name="connsiteX14" fmla="*/ 1262406 w 7714006"/>
              <a:gd name="connsiteY14" fmla="*/ 177800 h 6894286"/>
              <a:gd name="connsiteX15" fmla="*/ 0 w 7714006"/>
              <a:gd name="connsiteY15"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5885206 w 7714006"/>
              <a:gd name="connsiteY3" fmla="*/ 6858000 h 6894286"/>
              <a:gd name="connsiteX4" fmla="*/ 3586506 w 7714006"/>
              <a:gd name="connsiteY4" fmla="*/ 5969000 h 6894286"/>
              <a:gd name="connsiteX5" fmla="*/ 3192806 w 7714006"/>
              <a:gd name="connsiteY5" fmla="*/ 5549900 h 6894286"/>
              <a:gd name="connsiteX6" fmla="*/ 2951506 w 7714006"/>
              <a:gd name="connsiteY6" fmla="*/ 5003800 h 6894286"/>
              <a:gd name="connsiteX7" fmla="*/ 2921000 w 7714006"/>
              <a:gd name="connsiteY7" fmla="*/ 4584700 h 6894286"/>
              <a:gd name="connsiteX8" fmla="*/ 2951506 w 7714006"/>
              <a:gd name="connsiteY8" fmla="*/ 4356100 h 6894286"/>
              <a:gd name="connsiteX9" fmla="*/ 3015006 w 7714006"/>
              <a:gd name="connsiteY9" fmla="*/ 3860800 h 6894286"/>
              <a:gd name="connsiteX10" fmla="*/ 3205506 w 7714006"/>
              <a:gd name="connsiteY10" fmla="*/ 2641600 h 6894286"/>
              <a:gd name="connsiteX11" fmla="*/ 3078506 w 7714006"/>
              <a:gd name="connsiteY11" fmla="*/ 1460500 h 6894286"/>
              <a:gd name="connsiteX12" fmla="*/ 2786406 w 7714006"/>
              <a:gd name="connsiteY12" fmla="*/ 1028700 h 6894286"/>
              <a:gd name="connsiteX13" fmla="*/ 2291106 w 7714006"/>
              <a:gd name="connsiteY13" fmla="*/ 558800 h 6894286"/>
              <a:gd name="connsiteX14" fmla="*/ 1262406 w 7714006"/>
              <a:gd name="connsiteY14" fmla="*/ 177800 h 6894286"/>
              <a:gd name="connsiteX15" fmla="*/ 0 w 7714006"/>
              <a:gd name="connsiteY15"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5885206 w 7714006"/>
              <a:gd name="connsiteY3" fmla="*/ 6858000 h 6894286"/>
              <a:gd name="connsiteX4" fmla="*/ 4513606 w 7714006"/>
              <a:gd name="connsiteY4" fmla="*/ 6311900 h 6894286"/>
              <a:gd name="connsiteX5" fmla="*/ 3586506 w 7714006"/>
              <a:gd name="connsiteY5" fmla="*/ 5969000 h 6894286"/>
              <a:gd name="connsiteX6" fmla="*/ 3192806 w 7714006"/>
              <a:gd name="connsiteY6" fmla="*/ 5549900 h 6894286"/>
              <a:gd name="connsiteX7" fmla="*/ 2951506 w 7714006"/>
              <a:gd name="connsiteY7" fmla="*/ 5003800 h 6894286"/>
              <a:gd name="connsiteX8" fmla="*/ 2921000 w 7714006"/>
              <a:gd name="connsiteY8" fmla="*/ 4584700 h 6894286"/>
              <a:gd name="connsiteX9" fmla="*/ 2951506 w 7714006"/>
              <a:gd name="connsiteY9" fmla="*/ 4356100 h 6894286"/>
              <a:gd name="connsiteX10" fmla="*/ 3015006 w 7714006"/>
              <a:gd name="connsiteY10" fmla="*/ 3860800 h 6894286"/>
              <a:gd name="connsiteX11" fmla="*/ 3205506 w 7714006"/>
              <a:gd name="connsiteY11" fmla="*/ 2641600 h 6894286"/>
              <a:gd name="connsiteX12" fmla="*/ 3078506 w 7714006"/>
              <a:gd name="connsiteY12" fmla="*/ 1460500 h 6894286"/>
              <a:gd name="connsiteX13" fmla="*/ 2786406 w 7714006"/>
              <a:gd name="connsiteY13" fmla="*/ 1028700 h 6894286"/>
              <a:gd name="connsiteX14" fmla="*/ 2291106 w 7714006"/>
              <a:gd name="connsiteY14" fmla="*/ 558800 h 6894286"/>
              <a:gd name="connsiteX15" fmla="*/ 1262406 w 7714006"/>
              <a:gd name="connsiteY15" fmla="*/ 177800 h 6894286"/>
              <a:gd name="connsiteX16" fmla="*/ 0 w 7714006"/>
              <a:gd name="connsiteY16"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5885206 w 7714006"/>
              <a:gd name="connsiteY3" fmla="*/ 6858000 h 6894286"/>
              <a:gd name="connsiteX4" fmla="*/ 4475506 w 7714006"/>
              <a:gd name="connsiteY4" fmla="*/ 6375400 h 6894286"/>
              <a:gd name="connsiteX5" fmla="*/ 3586506 w 7714006"/>
              <a:gd name="connsiteY5" fmla="*/ 5969000 h 6894286"/>
              <a:gd name="connsiteX6" fmla="*/ 3192806 w 7714006"/>
              <a:gd name="connsiteY6" fmla="*/ 5549900 h 6894286"/>
              <a:gd name="connsiteX7" fmla="*/ 2951506 w 7714006"/>
              <a:gd name="connsiteY7" fmla="*/ 5003800 h 6894286"/>
              <a:gd name="connsiteX8" fmla="*/ 2921000 w 7714006"/>
              <a:gd name="connsiteY8" fmla="*/ 4584700 h 6894286"/>
              <a:gd name="connsiteX9" fmla="*/ 2951506 w 7714006"/>
              <a:gd name="connsiteY9" fmla="*/ 4356100 h 6894286"/>
              <a:gd name="connsiteX10" fmla="*/ 3015006 w 7714006"/>
              <a:gd name="connsiteY10" fmla="*/ 3860800 h 6894286"/>
              <a:gd name="connsiteX11" fmla="*/ 3205506 w 7714006"/>
              <a:gd name="connsiteY11" fmla="*/ 2641600 h 6894286"/>
              <a:gd name="connsiteX12" fmla="*/ 3078506 w 7714006"/>
              <a:gd name="connsiteY12" fmla="*/ 1460500 h 6894286"/>
              <a:gd name="connsiteX13" fmla="*/ 2786406 w 7714006"/>
              <a:gd name="connsiteY13" fmla="*/ 1028700 h 6894286"/>
              <a:gd name="connsiteX14" fmla="*/ 2291106 w 7714006"/>
              <a:gd name="connsiteY14" fmla="*/ 558800 h 6894286"/>
              <a:gd name="connsiteX15" fmla="*/ 1262406 w 7714006"/>
              <a:gd name="connsiteY15" fmla="*/ 177800 h 6894286"/>
              <a:gd name="connsiteX16" fmla="*/ 0 w 7714006"/>
              <a:gd name="connsiteY16"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5885206 w 7714006"/>
              <a:gd name="connsiteY3" fmla="*/ 6858000 h 6894286"/>
              <a:gd name="connsiteX4" fmla="*/ 5605806 w 7714006"/>
              <a:gd name="connsiteY4" fmla="*/ 6769100 h 6894286"/>
              <a:gd name="connsiteX5" fmla="*/ 4475506 w 7714006"/>
              <a:gd name="connsiteY5" fmla="*/ 6375400 h 6894286"/>
              <a:gd name="connsiteX6" fmla="*/ 3586506 w 7714006"/>
              <a:gd name="connsiteY6" fmla="*/ 5969000 h 6894286"/>
              <a:gd name="connsiteX7" fmla="*/ 3192806 w 7714006"/>
              <a:gd name="connsiteY7" fmla="*/ 5549900 h 6894286"/>
              <a:gd name="connsiteX8" fmla="*/ 2951506 w 7714006"/>
              <a:gd name="connsiteY8" fmla="*/ 5003800 h 6894286"/>
              <a:gd name="connsiteX9" fmla="*/ 2921000 w 7714006"/>
              <a:gd name="connsiteY9" fmla="*/ 4584700 h 6894286"/>
              <a:gd name="connsiteX10" fmla="*/ 2951506 w 7714006"/>
              <a:gd name="connsiteY10" fmla="*/ 4356100 h 6894286"/>
              <a:gd name="connsiteX11" fmla="*/ 3015006 w 7714006"/>
              <a:gd name="connsiteY11" fmla="*/ 3860800 h 6894286"/>
              <a:gd name="connsiteX12" fmla="*/ 3205506 w 7714006"/>
              <a:gd name="connsiteY12" fmla="*/ 2641600 h 6894286"/>
              <a:gd name="connsiteX13" fmla="*/ 3078506 w 7714006"/>
              <a:gd name="connsiteY13" fmla="*/ 1460500 h 6894286"/>
              <a:gd name="connsiteX14" fmla="*/ 2786406 w 7714006"/>
              <a:gd name="connsiteY14" fmla="*/ 1028700 h 6894286"/>
              <a:gd name="connsiteX15" fmla="*/ 2291106 w 7714006"/>
              <a:gd name="connsiteY15" fmla="*/ 558800 h 6894286"/>
              <a:gd name="connsiteX16" fmla="*/ 1262406 w 7714006"/>
              <a:gd name="connsiteY16" fmla="*/ 177800 h 6894286"/>
              <a:gd name="connsiteX17" fmla="*/ 0 w 7714006"/>
              <a:gd name="connsiteY17"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5885206 w 7714006"/>
              <a:gd name="connsiteY3" fmla="*/ 6858000 h 6894286"/>
              <a:gd name="connsiteX4" fmla="*/ 5669306 w 7714006"/>
              <a:gd name="connsiteY4" fmla="*/ 6604000 h 6894286"/>
              <a:gd name="connsiteX5" fmla="*/ 4475506 w 7714006"/>
              <a:gd name="connsiteY5" fmla="*/ 6375400 h 6894286"/>
              <a:gd name="connsiteX6" fmla="*/ 3586506 w 7714006"/>
              <a:gd name="connsiteY6" fmla="*/ 5969000 h 6894286"/>
              <a:gd name="connsiteX7" fmla="*/ 3192806 w 7714006"/>
              <a:gd name="connsiteY7" fmla="*/ 5549900 h 6894286"/>
              <a:gd name="connsiteX8" fmla="*/ 2951506 w 7714006"/>
              <a:gd name="connsiteY8" fmla="*/ 5003800 h 6894286"/>
              <a:gd name="connsiteX9" fmla="*/ 2921000 w 7714006"/>
              <a:gd name="connsiteY9" fmla="*/ 4584700 h 6894286"/>
              <a:gd name="connsiteX10" fmla="*/ 2951506 w 7714006"/>
              <a:gd name="connsiteY10" fmla="*/ 4356100 h 6894286"/>
              <a:gd name="connsiteX11" fmla="*/ 3015006 w 7714006"/>
              <a:gd name="connsiteY11" fmla="*/ 3860800 h 6894286"/>
              <a:gd name="connsiteX12" fmla="*/ 3205506 w 7714006"/>
              <a:gd name="connsiteY12" fmla="*/ 2641600 h 6894286"/>
              <a:gd name="connsiteX13" fmla="*/ 3078506 w 7714006"/>
              <a:gd name="connsiteY13" fmla="*/ 1460500 h 6894286"/>
              <a:gd name="connsiteX14" fmla="*/ 2786406 w 7714006"/>
              <a:gd name="connsiteY14" fmla="*/ 1028700 h 6894286"/>
              <a:gd name="connsiteX15" fmla="*/ 2291106 w 7714006"/>
              <a:gd name="connsiteY15" fmla="*/ 558800 h 6894286"/>
              <a:gd name="connsiteX16" fmla="*/ 1262406 w 7714006"/>
              <a:gd name="connsiteY16" fmla="*/ 177800 h 6894286"/>
              <a:gd name="connsiteX17" fmla="*/ 0 w 7714006"/>
              <a:gd name="connsiteY17"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6659906 w 7714006"/>
              <a:gd name="connsiteY3" fmla="*/ 6858000 h 6894286"/>
              <a:gd name="connsiteX4" fmla="*/ 5885206 w 7714006"/>
              <a:gd name="connsiteY4" fmla="*/ 6858000 h 6894286"/>
              <a:gd name="connsiteX5" fmla="*/ 5669306 w 7714006"/>
              <a:gd name="connsiteY5" fmla="*/ 6604000 h 6894286"/>
              <a:gd name="connsiteX6" fmla="*/ 4475506 w 7714006"/>
              <a:gd name="connsiteY6" fmla="*/ 6375400 h 6894286"/>
              <a:gd name="connsiteX7" fmla="*/ 3586506 w 7714006"/>
              <a:gd name="connsiteY7" fmla="*/ 5969000 h 6894286"/>
              <a:gd name="connsiteX8" fmla="*/ 3192806 w 7714006"/>
              <a:gd name="connsiteY8" fmla="*/ 5549900 h 6894286"/>
              <a:gd name="connsiteX9" fmla="*/ 2951506 w 7714006"/>
              <a:gd name="connsiteY9" fmla="*/ 5003800 h 6894286"/>
              <a:gd name="connsiteX10" fmla="*/ 2921000 w 7714006"/>
              <a:gd name="connsiteY10" fmla="*/ 4584700 h 6894286"/>
              <a:gd name="connsiteX11" fmla="*/ 2951506 w 7714006"/>
              <a:gd name="connsiteY11" fmla="*/ 4356100 h 6894286"/>
              <a:gd name="connsiteX12" fmla="*/ 3015006 w 7714006"/>
              <a:gd name="connsiteY12" fmla="*/ 3860800 h 6894286"/>
              <a:gd name="connsiteX13" fmla="*/ 3205506 w 7714006"/>
              <a:gd name="connsiteY13" fmla="*/ 2641600 h 6894286"/>
              <a:gd name="connsiteX14" fmla="*/ 3078506 w 7714006"/>
              <a:gd name="connsiteY14" fmla="*/ 1460500 h 6894286"/>
              <a:gd name="connsiteX15" fmla="*/ 2786406 w 7714006"/>
              <a:gd name="connsiteY15" fmla="*/ 1028700 h 6894286"/>
              <a:gd name="connsiteX16" fmla="*/ 2291106 w 7714006"/>
              <a:gd name="connsiteY16" fmla="*/ 558800 h 6894286"/>
              <a:gd name="connsiteX17" fmla="*/ 1262406 w 7714006"/>
              <a:gd name="connsiteY17" fmla="*/ 177800 h 6894286"/>
              <a:gd name="connsiteX18" fmla="*/ 0 w 7714006"/>
              <a:gd name="connsiteY18"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6659906 w 7714006"/>
              <a:gd name="connsiteY3" fmla="*/ 6858000 h 6894286"/>
              <a:gd name="connsiteX4" fmla="*/ 6088406 w 7714006"/>
              <a:gd name="connsiteY4" fmla="*/ 6629400 h 6894286"/>
              <a:gd name="connsiteX5" fmla="*/ 5669306 w 7714006"/>
              <a:gd name="connsiteY5" fmla="*/ 6604000 h 6894286"/>
              <a:gd name="connsiteX6" fmla="*/ 4475506 w 7714006"/>
              <a:gd name="connsiteY6" fmla="*/ 6375400 h 6894286"/>
              <a:gd name="connsiteX7" fmla="*/ 3586506 w 7714006"/>
              <a:gd name="connsiteY7" fmla="*/ 5969000 h 6894286"/>
              <a:gd name="connsiteX8" fmla="*/ 3192806 w 7714006"/>
              <a:gd name="connsiteY8" fmla="*/ 5549900 h 6894286"/>
              <a:gd name="connsiteX9" fmla="*/ 2951506 w 7714006"/>
              <a:gd name="connsiteY9" fmla="*/ 5003800 h 6894286"/>
              <a:gd name="connsiteX10" fmla="*/ 2921000 w 7714006"/>
              <a:gd name="connsiteY10" fmla="*/ 4584700 h 6894286"/>
              <a:gd name="connsiteX11" fmla="*/ 2951506 w 7714006"/>
              <a:gd name="connsiteY11" fmla="*/ 4356100 h 6894286"/>
              <a:gd name="connsiteX12" fmla="*/ 3015006 w 7714006"/>
              <a:gd name="connsiteY12" fmla="*/ 3860800 h 6894286"/>
              <a:gd name="connsiteX13" fmla="*/ 3205506 w 7714006"/>
              <a:gd name="connsiteY13" fmla="*/ 2641600 h 6894286"/>
              <a:gd name="connsiteX14" fmla="*/ 3078506 w 7714006"/>
              <a:gd name="connsiteY14" fmla="*/ 1460500 h 6894286"/>
              <a:gd name="connsiteX15" fmla="*/ 2786406 w 7714006"/>
              <a:gd name="connsiteY15" fmla="*/ 1028700 h 6894286"/>
              <a:gd name="connsiteX16" fmla="*/ 2291106 w 7714006"/>
              <a:gd name="connsiteY16" fmla="*/ 558800 h 6894286"/>
              <a:gd name="connsiteX17" fmla="*/ 1262406 w 7714006"/>
              <a:gd name="connsiteY17" fmla="*/ 177800 h 6894286"/>
              <a:gd name="connsiteX18" fmla="*/ 0 w 7714006"/>
              <a:gd name="connsiteY18"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6659906 w 7714006"/>
              <a:gd name="connsiteY3" fmla="*/ 6858000 h 6894286"/>
              <a:gd name="connsiteX4" fmla="*/ 6088406 w 7714006"/>
              <a:gd name="connsiteY4" fmla="*/ 6629400 h 6894286"/>
              <a:gd name="connsiteX5" fmla="*/ 5669306 w 7714006"/>
              <a:gd name="connsiteY5" fmla="*/ 6604000 h 6894286"/>
              <a:gd name="connsiteX6" fmla="*/ 5174006 w 7714006"/>
              <a:gd name="connsiteY6" fmla="*/ 6489700 h 6894286"/>
              <a:gd name="connsiteX7" fmla="*/ 4475506 w 7714006"/>
              <a:gd name="connsiteY7" fmla="*/ 6375400 h 6894286"/>
              <a:gd name="connsiteX8" fmla="*/ 3586506 w 7714006"/>
              <a:gd name="connsiteY8" fmla="*/ 5969000 h 6894286"/>
              <a:gd name="connsiteX9" fmla="*/ 3192806 w 7714006"/>
              <a:gd name="connsiteY9" fmla="*/ 5549900 h 6894286"/>
              <a:gd name="connsiteX10" fmla="*/ 2951506 w 7714006"/>
              <a:gd name="connsiteY10" fmla="*/ 5003800 h 6894286"/>
              <a:gd name="connsiteX11" fmla="*/ 2921000 w 7714006"/>
              <a:gd name="connsiteY11" fmla="*/ 4584700 h 6894286"/>
              <a:gd name="connsiteX12" fmla="*/ 2951506 w 7714006"/>
              <a:gd name="connsiteY12" fmla="*/ 4356100 h 6894286"/>
              <a:gd name="connsiteX13" fmla="*/ 3015006 w 7714006"/>
              <a:gd name="connsiteY13" fmla="*/ 3860800 h 6894286"/>
              <a:gd name="connsiteX14" fmla="*/ 3205506 w 7714006"/>
              <a:gd name="connsiteY14" fmla="*/ 2641600 h 6894286"/>
              <a:gd name="connsiteX15" fmla="*/ 3078506 w 7714006"/>
              <a:gd name="connsiteY15" fmla="*/ 1460500 h 6894286"/>
              <a:gd name="connsiteX16" fmla="*/ 2786406 w 7714006"/>
              <a:gd name="connsiteY16" fmla="*/ 1028700 h 6894286"/>
              <a:gd name="connsiteX17" fmla="*/ 2291106 w 7714006"/>
              <a:gd name="connsiteY17" fmla="*/ 558800 h 6894286"/>
              <a:gd name="connsiteX18" fmla="*/ 1262406 w 7714006"/>
              <a:gd name="connsiteY18" fmla="*/ 177800 h 6894286"/>
              <a:gd name="connsiteX19" fmla="*/ 0 w 7714006"/>
              <a:gd name="connsiteY19"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6659906 w 7714006"/>
              <a:gd name="connsiteY3" fmla="*/ 6858000 h 6894286"/>
              <a:gd name="connsiteX4" fmla="*/ 6088406 w 7714006"/>
              <a:gd name="connsiteY4" fmla="*/ 6629400 h 6894286"/>
              <a:gd name="connsiteX5" fmla="*/ 5669306 w 7714006"/>
              <a:gd name="connsiteY5" fmla="*/ 6604000 h 6894286"/>
              <a:gd name="connsiteX6" fmla="*/ 5085106 w 7714006"/>
              <a:gd name="connsiteY6" fmla="*/ 6540500 h 6894286"/>
              <a:gd name="connsiteX7" fmla="*/ 4475506 w 7714006"/>
              <a:gd name="connsiteY7" fmla="*/ 6375400 h 6894286"/>
              <a:gd name="connsiteX8" fmla="*/ 3586506 w 7714006"/>
              <a:gd name="connsiteY8" fmla="*/ 5969000 h 6894286"/>
              <a:gd name="connsiteX9" fmla="*/ 3192806 w 7714006"/>
              <a:gd name="connsiteY9" fmla="*/ 5549900 h 6894286"/>
              <a:gd name="connsiteX10" fmla="*/ 2951506 w 7714006"/>
              <a:gd name="connsiteY10" fmla="*/ 5003800 h 6894286"/>
              <a:gd name="connsiteX11" fmla="*/ 2921000 w 7714006"/>
              <a:gd name="connsiteY11" fmla="*/ 4584700 h 6894286"/>
              <a:gd name="connsiteX12" fmla="*/ 2951506 w 7714006"/>
              <a:gd name="connsiteY12" fmla="*/ 4356100 h 6894286"/>
              <a:gd name="connsiteX13" fmla="*/ 3015006 w 7714006"/>
              <a:gd name="connsiteY13" fmla="*/ 3860800 h 6894286"/>
              <a:gd name="connsiteX14" fmla="*/ 3205506 w 7714006"/>
              <a:gd name="connsiteY14" fmla="*/ 2641600 h 6894286"/>
              <a:gd name="connsiteX15" fmla="*/ 3078506 w 7714006"/>
              <a:gd name="connsiteY15" fmla="*/ 1460500 h 6894286"/>
              <a:gd name="connsiteX16" fmla="*/ 2786406 w 7714006"/>
              <a:gd name="connsiteY16" fmla="*/ 1028700 h 6894286"/>
              <a:gd name="connsiteX17" fmla="*/ 2291106 w 7714006"/>
              <a:gd name="connsiteY17" fmla="*/ 558800 h 6894286"/>
              <a:gd name="connsiteX18" fmla="*/ 1262406 w 7714006"/>
              <a:gd name="connsiteY18" fmla="*/ 177800 h 6894286"/>
              <a:gd name="connsiteX19" fmla="*/ 0 w 7714006"/>
              <a:gd name="connsiteY19"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6659906 w 7714006"/>
              <a:gd name="connsiteY3" fmla="*/ 6858000 h 6894286"/>
              <a:gd name="connsiteX4" fmla="*/ 6088406 w 7714006"/>
              <a:gd name="connsiteY4" fmla="*/ 6654800 h 6894286"/>
              <a:gd name="connsiteX5" fmla="*/ 5669306 w 7714006"/>
              <a:gd name="connsiteY5" fmla="*/ 6604000 h 6894286"/>
              <a:gd name="connsiteX6" fmla="*/ 5085106 w 7714006"/>
              <a:gd name="connsiteY6" fmla="*/ 6540500 h 6894286"/>
              <a:gd name="connsiteX7" fmla="*/ 4475506 w 7714006"/>
              <a:gd name="connsiteY7" fmla="*/ 6375400 h 6894286"/>
              <a:gd name="connsiteX8" fmla="*/ 3586506 w 7714006"/>
              <a:gd name="connsiteY8" fmla="*/ 5969000 h 6894286"/>
              <a:gd name="connsiteX9" fmla="*/ 3192806 w 7714006"/>
              <a:gd name="connsiteY9" fmla="*/ 5549900 h 6894286"/>
              <a:gd name="connsiteX10" fmla="*/ 2951506 w 7714006"/>
              <a:gd name="connsiteY10" fmla="*/ 5003800 h 6894286"/>
              <a:gd name="connsiteX11" fmla="*/ 2921000 w 7714006"/>
              <a:gd name="connsiteY11" fmla="*/ 4584700 h 6894286"/>
              <a:gd name="connsiteX12" fmla="*/ 2951506 w 7714006"/>
              <a:gd name="connsiteY12" fmla="*/ 4356100 h 6894286"/>
              <a:gd name="connsiteX13" fmla="*/ 3015006 w 7714006"/>
              <a:gd name="connsiteY13" fmla="*/ 3860800 h 6894286"/>
              <a:gd name="connsiteX14" fmla="*/ 3205506 w 7714006"/>
              <a:gd name="connsiteY14" fmla="*/ 2641600 h 6894286"/>
              <a:gd name="connsiteX15" fmla="*/ 3078506 w 7714006"/>
              <a:gd name="connsiteY15" fmla="*/ 1460500 h 6894286"/>
              <a:gd name="connsiteX16" fmla="*/ 2786406 w 7714006"/>
              <a:gd name="connsiteY16" fmla="*/ 1028700 h 6894286"/>
              <a:gd name="connsiteX17" fmla="*/ 2291106 w 7714006"/>
              <a:gd name="connsiteY17" fmla="*/ 558800 h 6894286"/>
              <a:gd name="connsiteX18" fmla="*/ 1262406 w 7714006"/>
              <a:gd name="connsiteY18" fmla="*/ 177800 h 6894286"/>
              <a:gd name="connsiteX19" fmla="*/ 0 w 7714006"/>
              <a:gd name="connsiteY19"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6659906 w 7714006"/>
              <a:gd name="connsiteY3" fmla="*/ 6858000 h 6894286"/>
              <a:gd name="connsiteX4" fmla="*/ 6088406 w 7714006"/>
              <a:gd name="connsiteY4" fmla="*/ 6654800 h 6894286"/>
              <a:gd name="connsiteX5" fmla="*/ 5656606 w 7714006"/>
              <a:gd name="connsiteY5" fmla="*/ 6629400 h 6894286"/>
              <a:gd name="connsiteX6" fmla="*/ 5085106 w 7714006"/>
              <a:gd name="connsiteY6" fmla="*/ 6540500 h 6894286"/>
              <a:gd name="connsiteX7" fmla="*/ 4475506 w 7714006"/>
              <a:gd name="connsiteY7" fmla="*/ 6375400 h 6894286"/>
              <a:gd name="connsiteX8" fmla="*/ 3586506 w 7714006"/>
              <a:gd name="connsiteY8" fmla="*/ 5969000 h 6894286"/>
              <a:gd name="connsiteX9" fmla="*/ 3192806 w 7714006"/>
              <a:gd name="connsiteY9" fmla="*/ 5549900 h 6894286"/>
              <a:gd name="connsiteX10" fmla="*/ 2951506 w 7714006"/>
              <a:gd name="connsiteY10" fmla="*/ 5003800 h 6894286"/>
              <a:gd name="connsiteX11" fmla="*/ 2921000 w 7714006"/>
              <a:gd name="connsiteY11" fmla="*/ 4584700 h 6894286"/>
              <a:gd name="connsiteX12" fmla="*/ 2951506 w 7714006"/>
              <a:gd name="connsiteY12" fmla="*/ 4356100 h 6894286"/>
              <a:gd name="connsiteX13" fmla="*/ 3015006 w 7714006"/>
              <a:gd name="connsiteY13" fmla="*/ 3860800 h 6894286"/>
              <a:gd name="connsiteX14" fmla="*/ 3205506 w 7714006"/>
              <a:gd name="connsiteY14" fmla="*/ 2641600 h 6894286"/>
              <a:gd name="connsiteX15" fmla="*/ 3078506 w 7714006"/>
              <a:gd name="connsiteY15" fmla="*/ 1460500 h 6894286"/>
              <a:gd name="connsiteX16" fmla="*/ 2786406 w 7714006"/>
              <a:gd name="connsiteY16" fmla="*/ 1028700 h 6894286"/>
              <a:gd name="connsiteX17" fmla="*/ 2291106 w 7714006"/>
              <a:gd name="connsiteY17" fmla="*/ 558800 h 6894286"/>
              <a:gd name="connsiteX18" fmla="*/ 1262406 w 7714006"/>
              <a:gd name="connsiteY18" fmla="*/ 177800 h 6894286"/>
              <a:gd name="connsiteX19" fmla="*/ 0 w 7714006"/>
              <a:gd name="connsiteY19"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7231406 w 7714006"/>
              <a:gd name="connsiteY3" fmla="*/ 6845300 h 6894286"/>
              <a:gd name="connsiteX4" fmla="*/ 6659906 w 7714006"/>
              <a:gd name="connsiteY4" fmla="*/ 6858000 h 6894286"/>
              <a:gd name="connsiteX5" fmla="*/ 6088406 w 7714006"/>
              <a:gd name="connsiteY5" fmla="*/ 6654800 h 6894286"/>
              <a:gd name="connsiteX6" fmla="*/ 5656606 w 7714006"/>
              <a:gd name="connsiteY6" fmla="*/ 6629400 h 6894286"/>
              <a:gd name="connsiteX7" fmla="*/ 5085106 w 7714006"/>
              <a:gd name="connsiteY7" fmla="*/ 6540500 h 6894286"/>
              <a:gd name="connsiteX8" fmla="*/ 4475506 w 7714006"/>
              <a:gd name="connsiteY8" fmla="*/ 6375400 h 6894286"/>
              <a:gd name="connsiteX9" fmla="*/ 3586506 w 7714006"/>
              <a:gd name="connsiteY9" fmla="*/ 5969000 h 6894286"/>
              <a:gd name="connsiteX10" fmla="*/ 3192806 w 7714006"/>
              <a:gd name="connsiteY10" fmla="*/ 5549900 h 6894286"/>
              <a:gd name="connsiteX11" fmla="*/ 2951506 w 7714006"/>
              <a:gd name="connsiteY11" fmla="*/ 5003800 h 6894286"/>
              <a:gd name="connsiteX12" fmla="*/ 2921000 w 7714006"/>
              <a:gd name="connsiteY12" fmla="*/ 4584700 h 6894286"/>
              <a:gd name="connsiteX13" fmla="*/ 2951506 w 7714006"/>
              <a:gd name="connsiteY13" fmla="*/ 4356100 h 6894286"/>
              <a:gd name="connsiteX14" fmla="*/ 3015006 w 7714006"/>
              <a:gd name="connsiteY14" fmla="*/ 3860800 h 6894286"/>
              <a:gd name="connsiteX15" fmla="*/ 3205506 w 7714006"/>
              <a:gd name="connsiteY15" fmla="*/ 2641600 h 6894286"/>
              <a:gd name="connsiteX16" fmla="*/ 3078506 w 7714006"/>
              <a:gd name="connsiteY16" fmla="*/ 1460500 h 6894286"/>
              <a:gd name="connsiteX17" fmla="*/ 2786406 w 7714006"/>
              <a:gd name="connsiteY17" fmla="*/ 1028700 h 6894286"/>
              <a:gd name="connsiteX18" fmla="*/ 2291106 w 7714006"/>
              <a:gd name="connsiteY18" fmla="*/ 558800 h 6894286"/>
              <a:gd name="connsiteX19" fmla="*/ 1262406 w 7714006"/>
              <a:gd name="connsiteY19" fmla="*/ 177800 h 6894286"/>
              <a:gd name="connsiteX20" fmla="*/ 0 w 7714006"/>
              <a:gd name="connsiteY20"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7231406 w 7714006"/>
              <a:gd name="connsiteY3" fmla="*/ 6845300 h 6894286"/>
              <a:gd name="connsiteX4" fmla="*/ 6799606 w 7714006"/>
              <a:gd name="connsiteY4" fmla="*/ 6642100 h 6894286"/>
              <a:gd name="connsiteX5" fmla="*/ 6088406 w 7714006"/>
              <a:gd name="connsiteY5" fmla="*/ 6654800 h 6894286"/>
              <a:gd name="connsiteX6" fmla="*/ 5656606 w 7714006"/>
              <a:gd name="connsiteY6" fmla="*/ 6629400 h 6894286"/>
              <a:gd name="connsiteX7" fmla="*/ 5085106 w 7714006"/>
              <a:gd name="connsiteY7" fmla="*/ 6540500 h 6894286"/>
              <a:gd name="connsiteX8" fmla="*/ 4475506 w 7714006"/>
              <a:gd name="connsiteY8" fmla="*/ 6375400 h 6894286"/>
              <a:gd name="connsiteX9" fmla="*/ 3586506 w 7714006"/>
              <a:gd name="connsiteY9" fmla="*/ 5969000 h 6894286"/>
              <a:gd name="connsiteX10" fmla="*/ 3192806 w 7714006"/>
              <a:gd name="connsiteY10" fmla="*/ 5549900 h 6894286"/>
              <a:gd name="connsiteX11" fmla="*/ 2951506 w 7714006"/>
              <a:gd name="connsiteY11" fmla="*/ 5003800 h 6894286"/>
              <a:gd name="connsiteX12" fmla="*/ 2921000 w 7714006"/>
              <a:gd name="connsiteY12" fmla="*/ 4584700 h 6894286"/>
              <a:gd name="connsiteX13" fmla="*/ 2951506 w 7714006"/>
              <a:gd name="connsiteY13" fmla="*/ 4356100 h 6894286"/>
              <a:gd name="connsiteX14" fmla="*/ 3015006 w 7714006"/>
              <a:gd name="connsiteY14" fmla="*/ 3860800 h 6894286"/>
              <a:gd name="connsiteX15" fmla="*/ 3205506 w 7714006"/>
              <a:gd name="connsiteY15" fmla="*/ 2641600 h 6894286"/>
              <a:gd name="connsiteX16" fmla="*/ 3078506 w 7714006"/>
              <a:gd name="connsiteY16" fmla="*/ 1460500 h 6894286"/>
              <a:gd name="connsiteX17" fmla="*/ 2786406 w 7714006"/>
              <a:gd name="connsiteY17" fmla="*/ 1028700 h 6894286"/>
              <a:gd name="connsiteX18" fmla="*/ 2291106 w 7714006"/>
              <a:gd name="connsiteY18" fmla="*/ 558800 h 6894286"/>
              <a:gd name="connsiteX19" fmla="*/ 1262406 w 7714006"/>
              <a:gd name="connsiteY19" fmla="*/ 177800 h 6894286"/>
              <a:gd name="connsiteX20" fmla="*/ 0 w 7714006"/>
              <a:gd name="connsiteY20"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7231406 w 7714006"/>
              <a:gd name="connsiteY3" fmla="*/ 6845300 h 6894286"/>
              <a:gd name="connsiteX4" fmla="*/ 6812306 w 7714006"/>
              <a:gd name="connsiteY4" fmla="*/ 6705600 h 6894286"/>
              <a:gd name="connsiteX5" fmla="*/ 6088406 w 7714006"/>
              <a:gd name="connsiteY5" fmla="*/ 6654800 h 6894286"/>
              <a:gd name="connsiteX6" fmla="*/ 5656606 w 7714006"/>
              <a:gd name="connsiteY6" fmla="*/ 6629400 h 6894286"/>
              <a:gd name="connsiteX7" fmla="*/ 5085106 w 7714006"/>
              <a:gd name="connsiteY7" fmla="*/ 6540500 h 6894286"/>
              <a:gd name="connsiteX8" fmla="*/ 4475506 w 7714006"/>
              <a:gd name="connsiteY8" fmla="*/ 6375400 h 6894286"/>
              <a:gd name="connsiteX9" fmla="*/ 3586506 w 7714006"/>
              <a:gd name="connsiteY9" fmla="*/ 5969000 h 6894286"/>
              <a:gd name="connsiteX10" fmla="*/ 3192806 w 7714006"/>
              <a:gd name="connsiteY10" fmla="*/ 5549900 h 6894286"/>
              <a:gd name="connsiteX11" fmla="*/ 2951506 w 7714006"/>
              <a:gd name="connsiteY11" fmla="*/ 5003800 h 6894286"/>
              <a:gd name="connsiteX12" fmla="*/ 2921000 w 7714006"/>
              <a:gd name="connsiteY12" fmla="*/ 4584700 h 6894286"/>
              <a:gd name="connsiteX13" fmla="*/ 2951506 w 7714006"/>
              <a:gd name="connsiteY13" fmla="*/ 4356100 h 6894286"/>
              <a:gd name="connsiteX14" fmla="*/ 3015006 w 7714006"/>
              <a:gd name="connsiteY14" fmla="*/ 3860800 h 6894286"/>
              <a:gd name="connsiteX15" fmla="*/ 3205506 w 7714006"/>
              <a:gd name="connsiteY15" fmla="*/ 2641600 h 6894286"/>
              <a:gd name="connsiteX16" fmla="*/ 3078506 w 7714006"/>
              <a:gd name="connsiteY16" fmla="*/ 1460500 h 6894286"/>
              <a:gd name="connsiteX17" fmla="*/ 2786406 w 7714006"/>
              <a:gd name="connsiteY17" fmla="*/ 1028700 h 6894286"/>
              <a:gd name="connsiteX18" fmla="*/ 2291106 w 7714006"/>
              <a:gd name="connsiteY18" fmla="*/ 558800 h 6894286"/>
              <a:gd name="connsiteX19" fmla="*/ 1262406 w 7714006"/>
              <a:gd name="connsiteY19" fmla="*/ 177800 h 6894286"/>
              <a:gd name="connsiteX20" fmla="*/ 0 w 7714006"/>
              <a:gd name="connsiteY20"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7231406 w 7714006"/>
              <a:gd name="connsiteY3" fmla="*/ 6845300 h 6894286"/>
              <a:gd name="connsiteX4" fmla="*/ 6812306 w 7714006"/>
              <a:gd name="connsiteY4" fmla="*/ 6705600 h 6894286"/>
              <a:gd name="connsiteX5" fmla="*/ 6433846 w 7714006"/>
              <a:gd name="connsiteY5" fmla="*/ 6683466 h 6894286"/>
              <a:gd name="connsiteX6" fmla="*/ 6088406 w 7714006"/>
              <a:gd name="connsiteY6" fmla="*/ 6654800 h 6894286"/>
              <a:gd name="connsiteX7" fmla="*/ 5656606 w 7714006"/>
              <a:gd name="connsiteY7" fmla="*/ 6629400 h 6894286"/>
              <a:gd name="connsiteX8" fmla="*/ 5085106 w 7714006"/>
              <a:gd name="connsiteY8" fmla="*/ 6540500 h 6894286"/>
              <a:gd name="connsiteX9" fmla="*/ 4475506 w 7714006"/>
              <a:gd name="connsiteY9" fmla="*/ 6375400 h 6894286"/>
              <a:gd name="connsiteX10" fmla="*/ 3586506 w 7714006"/>
              <a:gd name="connsiteY10" fmla="*/ 5969000 h 6894286"/>
              <a:gd name="connsiteX11" fmla="*/ 3192806 w 7714006"/>
              <a:gd name="connsiteY11" fmla="*/ 5549900 h 6894286"/>
              <a:gd name="connsiteX12" fmla="*/ 2951506 w 7714006"/>
              <a:gd name="connsiteY12" fmla="*/ 5003800 h 6894286"/>
              <a:gd name="connsiteX13" fmla="*/ 2921000 w 7714006"/>
              <a:gd name="connsiteY13" fmla="*/ 4584700 h 6894286"/>
              <a:gd name="connsiteX14" fmla="*/ 2951506 w 7714006"/>
              <a:gd name="connsiteY14" fmla="*/ 4356100 h 6894286"/>
              <a:gd name="connsiteX15" fmla="*/ 3015006 w 7714006"/>
              <a:gd name="connsiteY15" fmla="*/ 3860800 h 6894286"/>
              <a:gd name="connsiteX16" fmla="*/ 3205506 w 7714006"/>
              <a:gd name="connsiteY16" fmla="*/ 2641600 h 6894286"/>
              <a:gd name="connsiteX17" fmla="*/ 3078506 w 7714006"/>
              <a:gd name="connsiteY17" fmla="*/ 1460500 h 6894286"/>
              <a:gd name="connsiteX18" fmla="*/ 2786406 w 7714006"/>
              <a:gd name="connsiteY18" fmla="*/ 1028700 h 6894286"/>
              <a:gd name="connsiteX19" fmla="*/ 2291106 w 7714006"/>
              <a:gd name="connsiteY19" fmla="*/ 558800 h 6894286"/>
              <a:gd name="connsiteX20" fmla="*/ 1262406 w 7714006"/>
              <a:gd name="connsiteY20" fmla="*/ 177800 h 6894286"/>
              <a:gd name="connsiteX21" fmla="*/ 0 w 7714006"/>
              <a:gd name="connsiteY21"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7231406 w 7714006"/>
              <a:gd name="connsiteY3" fmla="*/ 6845300 h 6894286"/>
              <a:gd name="connsiteX4" fmla="*/ 6812306 w 7714006"/>
              <a:gd name="connsiteY4" fmla="*/ 6705600 h 6894286"/>
              <a:gd name="connsiteX5" fmla="*/ 6407720 w 7714006"/>
              <a:gd name="connsiteY5" fmla="*/ 6692174 h 6894286"/>
              <a:gd name="connsiteX6" fmla="*/ 6088406 w 7714006"/>
              <a:gd name="connsiteY6" fmla="*/ 6654800 h 6894286"/>
              <a:gd name="connsiteX7" fmla="*/ 5656606 w 7714006"/>
              <a:gd name="connsiteY7" fmla="*/ 6629400 h 6894286"/>
              <a:gd name="connsiteX8" fmla="*/ 5085106 w 7714006"/>
              <a:gd name="connsiteY8" fmla="*/ 6540500 h 6894286"/>
              <a:gd name="connsiteX9" fmla="*/ 4475506 w 7714006"/>
              <a:gd name="connsiteY9" fmla="*/ 6375400 h 6894286"/>
              <a:gd name="connsiteX10" fmla="*/ 3586506 w 7714006"/>
              <a:gd name="connsiteY10" fmla="*/ 5969000 h 6894286"/>
              <a:gd name="connsiteX11" fmla="*/ 3192806 w 7714006"/>
              <a:gd name="connsiteY11" fmla="*/ 5549900 h 6894286"/>
              <a:gd name="connsiteX12" fmla="*/ 2951506 w 7714006"/>
              <a:gd name="connsiteY12" fmla="*/ 5003800 h 6894286"/>
              <a:gd name="connsiteX13" fmla="*/ 2921000 w 7714006"/>
              <a:gd name="connsiteY13" fmla="*/ 4584700 h 6894286"/>
              <a:gd name="connsiteX14" fmla="*/ 2951506 w 7714006"/>
              <a:gd name="connsiteY14" fmla="*/ 4356100 h 6894286"/>
              <a:gd name="connsiteX15" fmla="*/ 3015006 w 7714006"/>
              <a:gd name="connsiteY15" fmla="*/ 3860800 h 6894286"/>
              <a:gd name="connsiteX16" fmla="*/ 3205506 w 7714006"/>
              <a:gd name="connsiteY16" fmla="*/ 2641600 h 6894286"/>
              <a:gd name="connsiteX17" fmla="*/ 3078506 w 7714006"/>
              <a:gd name="connsiteY17" fmla="*/ 1460500 h 6894286"/>
              <a:gd name="connsiteX18" fmla="*/ 2786406 w 7714006"/>
              <a:gd name="connsiteY18" fmla="*/ 1028700 h 6894286"/>
              <a:gd name="connsiteX19" fmla="*/ 2291106 w 7714006"/>
              <a:gd name="connsiteY19" fmla="*/ 558800 h 6894286"/>
              <a:gd name="connsiteX20" fmla="*/ 1262406 w 7714006"/>
              <a:gd name="connsiteY20" fmla="*/ 177800 h 6894286"/>
              <a:gd name="connsiteX21" fmla="*/ 0 w 7714006"/>
              <a:gd name="connsiteY21" fmla="*/ 0 h 6894286"/>
              <a:gd name="connsiteX0" fmla="*/ 0 w 7714006"/>
              <a:gd name="connsiteY0" fmla="*/ 0 h 6894286"/>
              <a:gd name="connsiteX1" fmla="*/ 7699492 w 7714006"/>
              <a:gd name="connsiteY1" fmla="*/ 12700 h 6894286"/>
              <a:gd name="connsiteX2" fmla="*/ 7714006 w 7714006"/>
              <a:gd name="connsiteY2" fmla="*/ 6894286 h 6894286"/>
              <a:gd name="connsiteX3" fmla="*/ 7231406 w 7714006"/>
              <a:gd name="connsiteY3" fmla="*/ 6845300 h 6894286"/>
              <a:gd name="connsiteX4" fmla="*/ 6812306 w 7714006"/>
              <a:gd name="connsiteY4" fmla="*/ 6705600 h 6894286"/>
              <a:gd name="connsiteX5" fmla="*/ 6407720 w 7714006"/>
              <a:gd name="connsiteY5" fmla="*/ 6692174 h 6894286"/>
              <a:gd name="connsiteX6" fmla="*/ 6097115 w 7714006"/>
              <a:gd name="connsiteY6" fmla="*/ 6663508 h 6894286"/>
              <a:gd name="connsiteX7" fmla="*/ 5656606 w 7714006"/>
              <a:gd name="connsiteY7" fmla="*/ 6629400 h 6894286"/>
              <a:gd name="connsiteX8" fmla="*/ 5085106 w 7714006"/>
              <a:gd name="connsiteY8" fmla="*/ 6540500 h 6894286"/>
              <a:gd name="connsiteX9" fmla="*/ 4475506 w 7714006"/>
              <a:gd name="connsiteY9" fmla="*/ 6375400 h 6894286"/>
              <a:gd name="connsiteX10" fmla="*/ 3586506 w 7714006"/>
              <a:gd name="connsiteY10" fmla="*/ 5969000 h 6894286"/>
              <a:gd name="connsiteX11" fmla="*/ 3192806 w 7714006"/>
              <a:gd name="connsiteY11" fmla="*/ 5549900 h 6894286"/>
              <a:gd name="connsiteX12" fmla="*/ 2951506 w 7714006"/>
              <a:gd name="connsiteY12" fmla="*/ 5003800 h 6894286"/>
              <a:gd name="connsiteX13" fmla="*/ 2921000 w 7714006"/>
              <a:gd name="connsiteY13" fmla="*/ 4584700 h 6894286"/>
              <a:gd name="connsiteX14" fmla="*/ 2951506 w 7714006"/>
              <a:gd name="connsiteY14" fmla="*/ 4356100 h 6894286"/>
              <a:gd name="connsiteX15" fmla="*/ 3015006 w 7714006"/>
              <a:gd name="connsiteY15" fmla="*/ 3860800 h 6894286"/>
              <a:gd name="connsiteX16" fmla="*/ 3205506 w 7714006"/>
              <a:gd name="connsiteY16" fmla="*/ 2641600 h 6894286"/>
              <a:gd name="connsiteX17" fmla="*/ 3078506 w 7714006"/>
              <a:gd name="connsiteY17" fmla="*/ 1460500 h 6894286"/>
              <a:gd name="connsiteX18" fmla="*/ 2786406 w 7714006"/>
              <a:gd name="connsiteY18" fmla="*/ 1028700 h 6894286"/>
              <a:gd name="connsiteX19" fmla="*/ 2291106 w 7714006"/>
              <a:gd name="connsiteY19" fmla="*/ 558800 h 6894286"/>
              <a:gd name="connsiteX20" fmla="*/ 1262406 w 7714006"/>
              <a:gd name="connsiteY20" fmla="*/ 177800 h 6894286"/>
              <a:gd name="connsiteX21" fmla="*/ 0 w 7714006"/>
              <a:gd name="connsiteY21" fmla="*/ 0 h 6894286"/>
              <a:gd name="connsiteX0" fmla="*/ 0 w 7714006"/>
              <a:gd name="connsiteY0" fmla="*/ 0 h 6845300"/>
              <a:gd name="connsiteX1" fmla="*/ 7699492 w 7714006"/>
              <a:gd name="connsiteY1" fmla="*/ 12700 h 6845300"/>
              <a:gd name="connsiteX2" fmla="*/ 7714006 w 7714006"/>
              <a:gd name="connsiteY2" fmla="*/ 6502400 h 6845300"/>
              <a:gd name="connsiteX3" fmla="*/ 7231406 w 7714006"/>
              <a:gd name="connsiteY3" fmla="*/ 6845300 h 6845300"/>
              <a:gd name="connsiteX4" fmla="*/ 6812306 w 7714006"/>
              <a:gd name="connsiteY4" fmla="*/ 6705600 h 6845300"/>
              <a:gd name="connsiteX5" fmla="*/ 6407720 w 7714006"/>
              <a:gd name="connsiteY5" fmla="*/ 6692174 h 6845300"/>
              <a:gd name="connsiteX6" fmla="*/ 6097115 w 7714006"/>
              <a:gd name="connsiteY6" fmla="*/ 6663508 h 6845300"/>
              <a:gd name="connsiteX7" fmla="*/ 5656606 w 7714006"/>
              <a:gd name="connsiteY7" fmla="*/ 6629400 h 6845300"/>
              <a:gd name="connsiteX8" fmla="*/ 5085106 w 7714006"/>
              <a:gd name="connsiteY8" fmla="*/ 6540500 h 6845300"/>
              <a:gd name="connsiteX9" fmla="*/ 4475506 w 7714006"/>
              <a:gd name="connsiteY9" fmla="*/ 6375400 h 6845300"/>
              <a:gd name="connsiteX10" fmla="*/ 3586506 w 7714006"/>
              <a:gd name="connsiteY10" fmla="*/ 5969000 h 6845300"/>
              <a:gd name="connsiteX11" fmla="*/ 3192806 w 7714006"/>
              <a:gd name="connsiteY11" fmla="*/ 5549900 h 6845300"/>
              <a:gd name="connsiteX12" fmla="*/ 2951506 w 7714006"/>
              <a:gd name="connsiteY12" fmla="*/ 5003800 h 6845300"/>
              <a:gd name="connsiteX13" fmla="*/ 2921000 w 7714006"/>
              <a:gd name="connsiteY13" fmla="*/ 4584700 h 6845300"/>
              <a:gd name="connsiteX14" fmla="*/ 2951506 w 7714006"/>
              <a:gd name="connsiteY14" fmla="*/ 4356100 h 6845300"/>
              <a:gd name="connsiteX15" fmla="*/ 3015006 w 7714006"/>
              <a:gd name="connsiteY15" fmla="*/ 3860800 h 6845300"/>
              <a:gd name="connsiteX16" fmla="*/ 3205506 w 7714006"/>
              <a:gd name="connsiteY16" fmla="*/ 2641600 h 6845300"/>
              <a:gd name="connsiteX17" fmla="*/ 3078506 w 7714006"/>
              <a:gd name="connsiteY17" fmla="*/ 1460500 h 6845300"/>
              <a:gd name="connsiteX18" fmla="*/ 2786406 w 7714006"/>
              <a:gd name="connsiteY18" fmla="*/ 1028700 h 6845300"/>
              <a:gd name="connsiteX19" fmla="*/ 2291106 w 7714006"/>
              <a:gd name="connsiteY19" fmla="*/ 558800 h 6845300"/>
              <a:gd name="connsiteX20" fmla="*/ 1262406 w 7714006"/>
              <a:gd name="connsiteY20" fmla="*/ 177800 h 6845300"/>
              <a:gd name="connsiteX21" fmla="*/ 0 w 7714006"/>
              <a:gd name="connsiteY21" fmla="*/ 0 h 6845300"/>
              <a:gd name="connsiteX0" fmla="*/ 0 w 7714006"/>
              <a:gd name="connsiteY0" fmla="*/ 0 h 6705600"/>
              <a:gd name="connsiteX1" fmla="*/ 7699492 w 7714006"/>
              <a:gd name="connsiteY1" fmla="*/ 12700 h 6705600"/>
              <a:gd name="connsiteX2" fmla="*/ 7714006 w 7714006"/>
              <a:gd name="connsiteY2" fmla="*/ 6502400 h 6705600"/>
              <a:gd name="connsiteX3" fmla="*/ 7187863 w 7714006"/>
              <a:gd name="connsiteY3" fmla="*/ 6618877 h 6705600"/>
              <a:gd name="connsiteX4" fmla="*/ 6812306 w 7714006"/>
              <a:gd name="connsiteY4" fmla="*/ 6705600 h 6705600"/>
              <a:gd name="connsiteX5" fmla="*/ 6407720 w 7714006"/>
              <a:gd name="connsiteY5" fmla="*/ 6692174 h 6705600"/>
              <a:gd name="connsiteX6" fmla="*/ 6097115 w 7714006"/>
              <a:gd name="connsiteY6" fmla="*/ 6663508 h 6705600"/>
              <a:gd name="connsiteX7" fmla="*/ 5656606 w 7714006"/>
              <a:gd name="connsiteY7" fmla="*/ 6629400 h 6705600"/>
              <a:gd name="connsiteX8" fmla="*/ 5085106 w 7714006"/>
              <a:gd name="connsiteY8" fmla="*/ 6540500 h 6705600"/>
              <a:gd name="connsiteX9" fmla="*/ 4475506 w 7714006"/>
              <a:gd name="connsiteY9" fmla="*/ 6375400 h 6705600"/>
              <a:gd name="connsiteX10" fmla="*/ 3586506 w 7714006"/>
              <a:gd name="connsiteY10" fmla="*/ 5969000 h 6705600"/>
              <a:gd name="connsiteX11" fmla="*/ 3192806 w 7714006"/>
              <a:gd name="connsiteY11" fmla="*/ 5549900 h 6705600"/>
              <a:gd name="connsiteX12" fmla="*/ 2951506 w 7714006"/>
              <a:gd name="connsiteY12" fmla="*/ 5003800 h 6705600"/>
              <a:gd name="connsiteX13" fmla="*/ 2921000 w 7714006"/>
              <a:gd name="connsiteY13" fmla="*/ 4584700 h 6705600"/>
              <a:gd name="connsiteX14" fmla="*/ 2951506 w 7714006"/>
              <a:gd name="connsiteY14" fmla="*/ 4356100 h 6705600"/>
              <a:gd name="connsiteX15" fmla="*/ 3015006 w 7714006"/>
              <a:gd name="connsiteY15" fmla="*/ 3860800 h 6705600"/>
              <a:gd name="connsiteX16" fmla="*/ 3205506 w 7714006"/>
              <a:gd name="connsiteY16" fmla="*/ 2641600 h 6705600"/>
              <a:gd name="connsiteX17" fmla="*/ 3078506 w 7714006"/>
              <a:gd name="connsiteY17" fmla="*/ 1460500 h 6705600"/>
              <a:gd name="connsiteX18" fmla="*/ 2786406 w 7714006"/>
              <a:gd name="connsiteY18" fmla="*/ 1028700 h 6705600"/>
              <a:gd name="connsiteX19" fmla="*/ 2291106 w 7714006"/>
              <a:gd name="connsiteY19" fmla="*/ 558800 h 6705600"/>
              <a:gd name="connsiteX20" fmla="*/ 1262406 w 7714006"/>
              <a:gd name="connsiteY20" fmla="*/ 177800 h 6705600"/>
              <a:gd name="connsiteX21" fmla="*/ 0 w 7714006"/>
              <a:gd name="connsiteY21" fmla="*/ 0 h 6705600"/>
              <a:gd name="connsiteX0" fmla="*/ 0 w 7714006"/>
              <a:gd name="connsiteY0" fmla="*/ 0 h 6705600"/>
              <a:gd name="connsiteX1" fmla="*/ 7699492 w 7714006"/>
              <a:gd name="connsiteY1" fmla="*/ 12700 h 6705600"/>
              <a:gd name="connsiteX2" fmla="*/ 7714006 w 7714006"/>
              <a:gd name="connsiteY2" fmla="*/ 6502400 h 6705600"/>
              <a:gd name="connsiteX3" fmla="*/ 7187863 w 7714006"/>
              <a:gd name="connsiteY3" fmla="*/ 6662420 h 6705600"/>
              <a:gd name="connsiteX4" fmla="*/ 6812306 w 7714006"/>
              <a:gd name="connsiteY4" fmla="*/ 6705600 h 6705600"/>
              <a:gd name="connsiteX5" fmla="*/ 6407720 w 7714006"/>
              <a:gd name="connsiteY5" fmla="*/ 6692174 h 6705600"/>
              <a:gd name="connsiteX6" fmla="*/ 6097115 w 7714006"/>
              <a:gd name="connsiteY6" fmla="*/ 6663508 h 6705600"/>
              <a:gd name="connsiteX7" fmla="*/ 5656606 w 7714006"/>
              <a:gd name="connsiteY7" fmla="*/ 6629400 h 6705600"/>
              <a:gd name="connsiteX8" fmla="*/ 5085106 w 7714006"/>
              <a:gd name="connsiteY8" fmla="*/ 6540500 h 6705600"/>
              <a:gd name="connsiteX9" fmla="*/ 4475506 w 7714006"/>
              <a:gd name="connsiteY9" fmla="*/ 6375400 h 6705600"/>
              <a:gd name="connsiteX10" fmla="*/ 3586506 w 7714006"/>
              <a:gd name="connsiteY10" fmla="*/ 5969000 h 6705600"/>
              <a:gd name="connsiteX11" fmla="*/ 3192806 w 7714006"/>
              <a:gd name="connsiteY11" fmla="*/ 5549900 h 6705600"/>
              <a:gd name="connsiteX12" fmla="*/ 2951506 w 7714006"/>
              <a:gd name="connsiteY12" fmla="*/ 5003800 h 6705600"/>
              <a:gd name="connsiteX13" fmla="*/ 2921000 w 7714006"/>
              <a:gd name="connsiteY13" fmla="*/ 4584700 h 6705600"/>
              <a:gd name="connsiteX14" fmla="*/ 2951506 w 7714006"/>
              <a:gd name="connsiteY14" fmla="*/ 4356100 h 6705600"/>
              <a:gd name="connsiteX15" fmla="*/ 3015006 w 7714006"/>
              <a:gd name="connsiteY15" fmla="*/ 3860800 h 6705600"/>
              <a:gd name="connsiteX16" fmla="*/ 3205506 w 7714006"/>
              <a:gd name="connsiteY16" fmla="*/ 2641600 h 6705600"/>
              <a:gd name="connsiteX17" fmla="*/ 3078506 w 7714006"/>
              <a:gd name="connsiteY17" fmla="*/ 1460500 h 6705600"/>
              <a:gd name="connsiteX18" fmla="*/ 2786406 w 7714006"/>
              <a:gd name="connsiteY18" fmla="*/ 1028700 h 6705600"/>
              <a:gd name="connsiteX19" fmla="*/ 2291106 w 7714006"/>
              <a:gd name="connsiteY19" fmla="*/ 558800 h 6705600"/>
              <a:gd name="connsiteX20" fmla="*/ 1262406 w 7714006"/>
              <a:gd name="connsiteY20" fmla="*/ 177800 h 6705600"/>
              <a:gd name="connsiteX21" fmla="*/ 0 w 7714006"/>
              <a:gd name="connsiteY21" fmla="*/ 0 h 6705600"/>
              <a:gd name="connsiteX0" fmla="*/ 0 w 7714006"/>
              <a:gd name="connsiteY0" fmla="*/ 6350 h 6711950"/>
              <a:gd name="connsiteX1" fmla="*/ 7699492 w 7714006"/>
              <a:gd name="connsiteY1" fmla="*/ 0 h 6711950"/>
              <a:gd name="connsiteX2" fmla="*/ 7714006 w 7714006"/>
              <a:gd name="connsiteY2" fmla="*/ 6508750 h 6711950"/>
              <a:gd name="connsiteX3" fmla="*/ 7187863 w 7714006"/>
              <a:gd name="connsiteY3" fmla="*/ 6668770 h 6711950"/>
              <a:gd name="connsiteX4" fmla="*/ 6812306 w 7714006"/>
              <a:gd name="connsiteY4" fmla="*/ 6711950 h 6711950"/>
              <a:gd name="connsiteX5" fmla="*/ 6407720 w 7714006"/>
              <a:gd name="connsiteY5" fmla="*/ 6698524 h 6711950"/>
              <a:gd name="connsiteX6" fmla="*/ 6097115 w 7714006"/>
              <a:gd name="connsiteY6" fmla="*/ 6669858 h 6711950"/>
              <a:gd name="connsiteX7" fmla="*/ 5656606 w 7714006"/>
              <a:gd name="connsiteY7" fmla="*/ 6635750 h 6711950"/>
              <a:gd name="connsiteX8" fmla="*/ 5085106 w 7714006"/>
              <a:gd name="connsiteY8" fmla="*/ 6546850 h 6711950"/>
              <a:gd name="connsiteX9" fmla="*/ 4475506 w 7714006"/>
              <a:gd name="connsiteY9" fmla="*/ 6381750 h 6711950"/>
              <a:gd name="connsiteX10" fmla="*/ 3586506 w 7714006"/>
              <a:gd name="connsiteY10" fmla="*/ 5975350 h 6711950"/>
              <a:gd name="connsiteX11" fmla="*/ 3192806 w 7714006"/>
              <a:gd name="connsiteY11" fmla="*/ 5556250 h 6711950"/>
              <a:gd name="connsiteX12" fmla="*/ 2951506 w 7714006"/>
              <a:gd name="connsiteY12" fmla="*/ 5010150 h 6711950"/>
              <a:gd name="connsiteX13" fmla="*/ 2921000 w 7714006"/>
              <a:gd name="connsiteY13" fmla="*/ 4591050 h 6711950"/>
              <a:gd name="connsiteX14" fmla="*/ 2951506 w 7714006"/>
              <a:gd name="connsiteY14" fmla="*/ 4362450 h 6711950"/>
              <a:gd name="connsiteX15" fmla="*/ 3015006 w 7714006"/>
              <a:gd name="connsiteY15" fmla="*/ 3867150 h 6711950"/>
              <a:gd name="connsiteX16" fmla="*/ 3205506 w 7714006"/>
              <a:gd name="connsiteY16" fmla="*/ 2647950 h 6711950"/>
              <a:gd name="connsiteX17" fmla="*/ 3078506 w 7714006"/>
              <a:gd name="connsiteY17" fmla="*/ 1466850 h 6711950"/>
              <a:gd name="connsiteX18" fmla="*/ 2786406 w 7714006"/>
              <a:gd name="connsiteY18" fmla="*/ 1035050 h 6711950"/>
              <a:gd name="connsiteX19" fmla="*/ 2291106 w 7714006"/>
              <a:gd name="connsiteY19" fmla="*/ 565150 h 6711950"/>
              <a:gd name="connsiteX20" fmla="*/ 1262406 w 7714006"/>
              <a:gd name="connsiteY20" fmla="*/ 184150 h 6711950"/>
              <a:gd name="connsiteX21" fmla="*/ 0 w 7714006"/>
              <a:gd name="connsiteY21" fmla="*/ 6350 h 6711950"/>
              <a:gd name="connsiteX0" fmla="*/ 0 w 7714006"/>
              <a:gd name="connsiteY0" fmla="*/ 6350 h 6711950"/>
              <a:gd name="connsiteX1" fmla="*/ 7699492 w 7714006"/>
              <a:gd name="connsiteY1" fmla="*/ 0 h 6711950"/>
              <a:gd name="connsiteX2" fmla="*/ 7714006 w 7714006"/>
              <a:gd name="connsiteY2" fmla="*/ 6680200 h 6711950"/>
              <a:gd name="connsiteX3" fmla="*/ 7187863 w 7714006"/>
              <a:gd name="connsiteY3" fmla="*/ 6668770 h 6711950"/>
              <a:gd name="connsiteX4" fmla="*/ 6812306 w 7714006"/>
              <a:gd name="connsiteY4" fmla="*/ 6711950 h 6711950"/>
              <a:gd name="connsiteX5" fmla="*/ 6407720 w 7714006"/>
              <a:gd name="connsiteY5" fmla="*/ 6698524 h 6711950"/>
              <a:gd name="connsiteX6" fmla="*/ 6097115 w 7714006"/>
              <a:gd name="connsiteY6" fmla="*/ 6669858 h 6711950"/>
              <a:gd name="connsiteX7" fmla="*/ 5656606 w 7714006"/>
              <a:gd name="connsiteY7" fmla="*/ 6635750 h 6711950"/>
              <a:gd name="connsiteX8" fmla="*/ 5085106 w 7714006"/>
              <a:gd name="connsiteY8" fmla="*/ 6546850 h 6711950"/>
              <a:gd name="connsiteX9" fmla="*/ 4475506 w 7714006"/>
              <a:gd name="connsiteY9" fmla="*/ 6381750 h 6711950"/>
              <a:gd name="connsiteX10" fmla="*/ 3586506 w 7714006"/>
              <a:gd name="connsiteY10" fmla="*/ 5975350 h 6711950"/>
              <a:gd name="connsiteX11" fmla="*/ 3192806 w 7714006"/>
              <a:gd name="connsiteY11" fmla="*/ 5556250 h 6711950"/>
              <a:gd name="connsiteX12" fmla="*/ 2951506 w 7714006"/>
              <a:gd name="connsiteY12" fmla="*/ 5010150 h 6711950"/>
              <a:gd name="connsiteX13" fmla="*/ 2921000 w 7714006"/>
              <a:gd name="connsiteY13" fmla="*/ 4591050 h 6711950"/>
              <a:gd name="connsiteX14" fmla="*/ 2951506 w 7714006"/>
              <a:gd name="connsiteY14" fmla="*/ 4362450 h 6711950"/>
              <a:gd name="connsiteX15" fmla="*/ 3015006 w 7714006"/>
              <a:gd name="connsiteY15" fmla="*/ 3867150 h 6711950"/>
              <a:gd name="connsiteX16" fmla="*/ 3205506 w 7714006"/>
              <a:gd name="connsiteY16" fmla="*/ 2647950 h 6711950"/>
              <a:gd name="connsiteX17" fmla="*/ 3078506 w 7714006"/>
              <a:gd name="connsiteY17" fmla="*/ 1466850 h 6711950"/>
              <a:gd name="connsiteX18" fmla="*/ 2786406 w 7714006"/>
              <a:gd name="connsiteY18" fmla="*/ 1035050 h 6711950"/>
              <a:gd name="connsiteX19" fmla="*/ 2291106 w 7714006"/>
              <a:gd name="connsiteY19" fmla="*/ 565150 h 6711950"/>
              <a:gd name="connsiteX20" fmla="*/ 1262406 w 7714006"/>
              <a:gd name="connsiteY20" fmla="*/ 184150 h 6711950"/>
              <a:gd name="connsiteX21" fmla="*/ 0 w 7714006"/>
              <a:gd name="connsiteY21" fmla="*/ 6350 h 6711950"/>
              <a:gd name="connsiteX0" fmla="*/ 0 w 7714006"/>
              <a:gd name="connsiteY0" fmla="*/ 6350 h 6711950"/>
              <a:gd name="connsiteX1" fmla="*/ 7699492 w 7714006"/>
              <a:gd name="connsiteY1" fmla="*/ 0 h 6711950"/>
              <a:gd name="connsiteX2" fmla="*/ 7714006 w 7714006"/>
              <a:gd name="connsiteY2" fmla="*/ 6680200 h 6711950"/>
              <a:gd name="connsiteX3" fmla="*/ 7197388 w 7714006"/>
              <a:gd name="connsiteY3" fmla="*/ 6706870 h 6711950"/>
              <a:gd name="connsiteX4" fmla="*/ 6812306 w 7714006"/>
              <a:gd name="connsiteY4" fmla="*/ 6711950 h 6711950"/>
              <a:gd name="connsiteX5" fmla="*/ 6407720 w 7714006"/>
              <a:gd name="connsiteY5" fmla="*/ 6698524 h 6711950"/>
              <a:gd name="connsiteX6" fmla="*/ 6097115 w 7714006"/>
              <a:gd name="connsiteY6" fmla="*/ 6669858 h 6711950"/>
              <a:gd name="connsiteX7" fmla="*/ 5656606 w 7714006"/>
              <a:gd name="connsiteY7" fmla="*/ 6635750 h 6711950"/>
              <a:gd name="connsiteX8" fmla="*/ 5085106 w 7714006"/>
              <a:gd name="connsiteY8" fmla="*/ 6546850 h 6711950"/>
              <a:gd name="connsiteX9" fmla="*/ 4475506 w 7714006"/>
              <a:gd name="connsiteY9" fmla="*/ 6381750 h 6711950"/>
              <a:gd name="connsiteX10" fmla="*/ 3586506 w 7714006"/>
              <a:gd name="connsiteY10" fmla="*/ 5975350 h 6711950"/>
              <a:gd name="connsiteX11" fmla="*/ 3192806 w 7714006"/>
              <a:gd name="connsiteY11" fmla="*/ 5556250 h 6711950"/>
              <a:gd name="connsiteX12" fmla="*/ 2951506 w 7714006"/>
              <a:gd name="connsiteY12" fmla="*/ 5010150 h 6711950"/>
              <a:gd name="connsiteX13" fmla="*/ 2921000 w 7714006"/>
              <a:gd name="connsiteY13" fmla="*/ 4591050 h 6711950"/>
              <a:gd name="connsiteX14" fmla="*/ 2951506 w 7714006"/>
              <a:gd name="connsiteY14" fmla="*/ 4362450 h 6711950"/>
              <a:gd name="connsiteX15" fmla="*/ 3015006 w 7714006"/>
              <a:gd name="connsiteY15" fmla="*/ 3867150 h 6711950"/>
              <a:gd name="connsiteX16" fmla="*/ 3205506 w 7714006"/>
              <a:gd name="connsiteY16" fmla="*/ 2647950 h 6711950"/>
              <a:gd name="connsiteX17" fmla="*/ 3078506 w 7714006"/>
              <a:gd name="connsiteY17" fmla="*/ 1466850 h 6711950"/>
              <a:gd name="connsiteX18" fmla="*/ 2786406 w 7714006"/>
              <a:gd name="connsiteY18" fmla="*/ 1035050 h 6711950"/>
              <a:gd name="connsiteX19" fmla="*/ 2291106 w 7714006"/>
              <a:gd name="connsiteY19" fmla="*/ 565150 h 6711950"/>
              <a:gd name="connsiteX20" fmla="*/ 1262406 w 7714006"/>
              <a:gd name="connsiteY20" fmla="*/ 184150 h 6711950"/>
              <a:gd name="connsiteX21" fmla="*/ 0 w 7714006"/>
              <a:gd name="connsiteY21" fmla="*/ 6350 h 6711950"/>
              <a:gd name="connsiteX0" fmla="*/ 0 w 7714006"/>
              <a:gd name="connsiteY0" fmla="*/ 6350 h 6711950"/>
              <a:gd name="connsiteX1" fmla="*/ 7699492 w 7714006"/>
              <a:gd name="connsiteY1" fmla="*/ 0 h 6711950"/>
              <a:gd name="connsiteX2" fmla="*/ 7714006 w 7714006"/>
              <a:gd name="connsiteY2" fmla="*/ 6699250 h 6711950"/>
              <a:gd name="connsiteX3" fmla="*/ 7197388 w 7714006"/>
              <a:gd name="connsiteY3" fmla="*/ 6706870 h 6711950"/>
              <a:gd name="connsiteX4" fmla="*/ 6812306 w 7714006"/>
              <a:gd name="connsiteY4" fmla="*/ 6711950 h 6711950"/>
              <a:gd name="connsiteX5" fmla="*/ 6407720 w 7714006"/>
              <a:gd name="connsiteY5" fmla="*/ 6698524 h 6711950"/>
              <a:gd name="connsiteX6" fmla="*/ 6097115 w 7714006"/>
              <a:gd name="connsiteY6" fmla="*/ 6669858 h 6711950"/>
              <a:gd name="connsiteX7" fmla="*/ 5656606 w 7714006"/>
              <a:gd name="connsiteY7" fmla="*/ 6635750 h 6711950"/>
              <a:gd name="connsiteX8" fmla="*/ 5085106 w 7714006"/>
              <a:gd name="connsiteY8" fmla="*/ 6546850 h 6711950"/>
              <a:gd name="connsiteX9" fmla="*/ 4475506 w 7714006"/>
              <a:gd name="connsiteY9" fmla="*/ 6381750 h 6711950"/>
              <a:gd name="connsiteX10" fmla="*/ 3586506 w 7714006"/>
              <a:gd name="connsiteY10" fmla="*/ 5975350 h 6711950"/>
              <a:gd name="connsiteX11" fmla="*/ 3192806 w 7714006"/>
              <a:gd name="connsiteY11" fmla="*/ 5556250 h 6711950"/>
              <a:gd name="connsiteX12" fmla="*/ 2951506 w 7714006"/>
              <a:gd name="connsiteY12" fmla="*/ 5010150 h 6711950"/>
              <a:gd name="connsiteX13" fmla="*/ 2921000 w 7714006"/>
              <a:gd name="connsiteY13" fmla="*/ 4591050 h 6711950"/>
              <a:gd name="connsiteX14" fmla="*/ 2951506 w 7714006"/>
              <a:gd name="connsiteY14" fmla="*/ 4362450 h 6711950"/>
              <a:gd name="connsiteX15" fmla="*/ 3015006 w 7714006"/>
              <a:gd name="connsiteY15" fmla="*/ 3867150 h 6711950"/>
              <a:gd name="connsiteX16" fmla="*/ 3205506 w 7714006"/>
              <a:gd name="connsiteY16" fmla="*/ 2647950 h 6711950"/>
              <a:gd name="connsiteX17" fmla="*/ 3078506 w 7714006"/>
              <a:gd name="connsiteY17" fmla="*/ 1466850 h 6711950"/>
              <a:gd name="connsiteX18" fmla="*/ 2786406 w 7714006"/>
              <a:gd name="connsiteY18" fmla="*/ 1035050 h 6711950"/>
              <a:gd name="connsiteX19" fmla="*/ 2291106 w 7714006"/>
              <a:gd name="connsiteY19" fmla="*/ 565150 h 6711950"/>
              <a:gd name="connsiteX20" fmla="*/ 1262406 w 7714006"/>
              <a:gd name="connsiteY20" fmla="*/ 184150 h 6711950"/>
              <a:gd name="connsiteX21" fmla="*/ 0 w 7714006"/>
              <a:gd name="connsiteY21" fmla="*/ 6350 h 6711950"/>
              <a:gd name="connsiteX0" fmla="*/ 0 w 7180606"/>
              <a:gd name="connsiteY0" fmla="*/ 6350 h 6711950"/>
              <a:gd name="connsiteX1" fmla="*/ 7166092 w 7180606"/>
              <a:gd name="connsiteY1" fmla="*/ 0 h 6711950"/>
              <a:gd name="connsiteX2" fmla="*/ 7180606 w 7180606"/>
              <a:gd name="connsiteY2" fmla="*/ 6699250 h 6711950"/>
              <a:gd name="connsiteX3" fmla="*/ 6663988 w 7180606"/>
              <a:gd name="connsiteY3" fmla="*/ 6706870 h 6711950"/>
              <a:gd name="connsiteX4" fmla="*/ 6278906 w 7180606"/>
              <a:gd name="connsiteY4" fmla="*/ 6711950 h 6711950"/>
              <a:gd name="connsiteX5" fmla="*/ 5874320 w 7180606"/>
              <a:gd name="connsiteY5" fmla="*/ 6698524 h 6711950"/>
              <a:gd name="connsiteX6" fmla="*/ 5563715 w 7180606"/>
              <a:gd name="connsiteY6" fmla="*/ 6669858 h 6711950"/>
              <a:gd name="connsiteX7" fmla="*/ 5123206 w 7180606"/>
              <a:gd name="connsiteY7" fmla="*/ 6635750 h 6711950"/>
              <a:gd name="connsiteX8" fmla="*/ 4551706 w 7180606"/>
              <a:gd name="connsiteY8" fmla="*/ 6546850 h 6711950"/>
              <a:gd name="connsiteX9" fmla="*/ 3942106 w 7180606"/>
              <a:gd name="connsiteY9" fmla="*/ 6381750 h 6711950"/>
              <a:gd name="connsiteX10" fmla="*/ 3053106 w 7180606"/>
              <a:gd name="connsiteY10" fmla="*/ 5975350 h 6711950"/>
              <a:gd name="connsiteX11" fmla="*/ 2659406 w 7180606"/>
              <a:gd name="connsiteY11" fmla="*/ 5556250 h 6711950"/>
              <a:gd name="connsiteX12" fmla="*/ 2418106 w 7180606"/>
              <a:gd name="connsiteY12" fmla="*/ 5010150 h 6711950"/>
              <a:gd name="connsiteX13" fmla="*/ 2387600 w 7180606"/>
              <a:gd name="connsiteY13" fmla="*/ 4591050 h 6711950"/>
              <a:gd name="connsiteX14" fmla="*/ 2418106 w 7180606"/>
              <a:gd name="connsiteY14" fmla="*/ 4362450 h 6711950"/>
              <a:gd name="connsiteX15" fmla="*/ 2481606 w 7180606"/>
              <a:gd name="connsiteY15" fmla="*/ 3867150 h 6711950"/>
              <a:gd name="connsiteX16" fmla="*/ 2672106 w 7180606"/>
              <a:gd name="connsiteY16" fmla="*/ 2647950 h 6711950"/>
              <a:gd name="connsiteX17" fmla="*/ 2545106 w 7180606"/>
              <a:gd name="connsiteY17" fmla="*/ 1466850 h 6711950"/>
              <a:gd name="connsiteX18" fmla="*/ 2253006 w 7180606"/>
              <a:gd name="connsiteY18" fmla="*/ 1035050 h 6711950"/>
              <a:gd name="connsiteX19" fmla="*/ 1757706 w 7180606"/>
              <a:gd name="connsiteY19" fmla="*/ 565150 h 6711950"/>
              <a:gd name="connsiteX20" fmla="*/ 729006 w 7180606"/>
              <a:gd name="connsiteY20" fmla="*/ 184150 h 6711950"/>
              <a:gd name="connsiteX21" fmla="*/ 0 w 7180606"/>
              <a:gd name="connsiteY21" fmla="*/ 6350 h 6711950"/>
              <a:gd name="connsiteX0" fmla="*/ 0 w 7180606"/>
              <a:gd name="connsiteY0" fmla="*/ 6350 h 6711950"/>
              <a:gd name="connsiteX1" fmla="*/ 7166092 w 7180606"/>
              <a:gd name="connsiteY1" fmla="*/ 0 h 6711950"/>
              <a:gd name="connsiteX2" fmla="*/ 7180606 w 7180606"/>
              <a:gd name="connsiteY2" fmla="*/ 6699250 h 6711950"/>
              <a:gd name="connsiteX3" fmla="*/ 6663988 w 7180606"/>
              <a:gd name="connsiteY3" fmla="*/ 6706870 h 6711950"/>
              <a:gd name="connsiteX4" fmla="*/ 6278906 w 7180606"/>
              <a:gd name="connsiteY4" fmla="*/ 6711950 h 6711950"/>
              <a:gd name="connsiteX5" fmla="*/ 5874320 w 7180606"/>
              <a:gd name="connsiteY5" fmla="*/ 6698524 h 6711950"/>
              <a:gd name="connsiteX6" fmla="*/ 5563715 w 7180606"/>
              <a:gd name="connsiteY6" fmla="*/ 6669858 h 6711950"/>
              <a:gd name="connsiteX7" fmla="*/ 5123206 w 7180606"/>
              <a:gd name="connsiteY7" fmla="*/ 6635750 h 6711950"/>
              <a:gd name="connsiteX8" fmla="*/ 4551706 w 7180606"/>
              <a:gd name="connsiteY8" fmla="*/ 6546850 h 6711950"/>
              <a:gd name="connsiteX9" fmla="*/ 3942106 w 7180606"/>
              <a:gd name="connsiteY9" fmla="*/ 6381750 h 6711950"/>
              <a:gd name="connsiteX10" fmla="*/ 3053106 w 7180606"/>
              <a:gd name="connsiteY10" fmla="*/ 5975350 h 6711950"/>
              <a:gd name="connsiteX11" fmla="*/ 2659406 w 7180606"/>
              <a:gd name="connsiteY11" fmla="*/ 5556250 h 6711950"/>
              <a:gd name="connsiteX12" fmla="*/ 2418106 w 7180606"/>
              <a:gd name="connsiteY12" fmla="*/ 5010150 h 6711950"/>
              <a:gd name="connsiteX13" fmla="*/ 2387600 w 7180606"/>
              <a:gd name="connsiteY13" fmla="*/ 4591050 h 6711950"/>
              <a:gd name="connsiteX14" fmla="*/ 2418106 w 7180606"/>
              <a:gd name="connsiteY14" fmla="*/ 4362450 h 6711950"/>
              <a:gd name="connsiteX15" fmla="*/ 2481606 w 7180606"/>
              <a:gd name="connsiteY15" fmla="*/ 3867150 h 6711950"/>
              <a:gd name="connsiteX16" fmla="*/ 3376956 w 7180606"/>
              <a:gd name="connsiteY16" fmla="*/ 2695575 h 6711950"/>
              <a:gd name="connsiteX17" fmla="*/ 2545106 w 7180606"/>
              <a:gd name="connsiteY17" fmla="*/ 1466850 h 6711950"/>
              <a:gd name="connsiteX18" fmla="*/ 2253006 w 7180606"/>
              <a:gd name="connsiteY18" fmla="*/ 1035050 h 6711950"/>
              <a:gd name="connsiteX19" fmla="*/ 1757706 w 7180606"/>
              <a:gd name="connsiteY19" fmla="*/ 565150 h 6711950"/>
              <a:gd name="connsiteX20" fmla="*/ 729006 w 7180606"/>
              <a:gd name="connsiteY20" fmla="*/ 184150 h 6711950"/>
              <a:gd name="connsiteX21" fmla="*/ 0 w 7180606"/>
              <a:gd name="connsiteY21" fmla="*/ 6350 h 6711950"/>
              <a:gd name="connsiteX0" fmla="*/ 0 w 7180606"/>
              <a:gd name="connsiteY0" fmla="*/ 6350 h 6711950"/>
              <a:gd name="connsiteX1" fmla="*/ 7166092 w 7180606"/>
              <a:gd name="connsiteY1" fmla="*/ 0 h 6711950"/>
              <a:gd name="connsiteX2" fmla="*/ 7180606 w 7180606"/>
              <a:gd name="connsiteY2" fmla="*/ 6699250 h 6711950"/>
              <a:gd name="connsiteX3" fmla="*/ 6663988 w 7180606"/>
              <a:gd name="connsiteY3" fmla="*/ 6706870 h 6711950"/>
              <a:gd name="connsiteX4" fmla="*/ 6278906 w 7180606"/>
              <a:gd name="connsiteY4" fmla="*/ 6711950 h 6711950"/>
              <a:gd name="connsiteX5" fmla="*/ 5874320 w 7180606"/>
              <a:gd name="connsiteY5" fmla="*/ 6698524 h 6711950"/>
              <a:gd name="connsiteX6" fmla="*/ 5563715 w 7180606"/>
              <a:gd name="connsiteY6" fmla="*/ 6669858 h 6711950"/>
              <a:gd name="connsiteX7" fmla="*/ 5123206 w 7180606"/>
              <a:gd name="connsiteY7" fmla="*/ 6635750 h 6711950"/>
              <a:gd name="connsiteX8" fmla="*/ 4551706 w 7180606"/>
              <a:gd name="connsiteY8" fmla="*/ 6546850 h 6711950"/>
              <a:gd name="connsiteX9" fmla="*/ 3942106 w 7180606"/>
              <a:gd name="connsiteY9" fmla="*/ 6381750 h 6711950"/>
              <a:gd name="connsiteX10" fmla="*/ 3053106 w 7180606"/>
              <a:gd name="connsiteY10" fmla="*/ 5975350 h 6711950"/>
              <a:gd name="connsiteX11" fmla="*/ 2659406 w 7180606"/>
              <a:gd name="connsiteY11" fmla="*/ 5556250 h 6711950"/>
              <a:gd name="connsiteX12" fmla="*/ 2418106 w 7180606"/>
              <a:gd name="connsiteY12" fmla="*/ 5010150 h 6711950"/>
              <a:gd name="connsiteX13" fmla="*/ 2387600 w 7180606"/>
              <a:gd name="connsiteY13" fmla="*/ 4591050 h 6711950"/>
              <a:gd name="connsiteX14" fmla="*/ 2418106 w 7180606"/>
              <a:gd name="connsiteY14" fmla="*/ 4362450 h 6711950"/>
              <a:gd name="connsiteX15" fmla="*/ 2481606 w 7180606"/>
              <a:gd name="connsiteY15" fmla="*/ 3867150 h 6711950"/>
              <a:gd name="connsiteX16" fmla="*/ 3376956 w 7180606"/>
              <a:gd name="connsiteY16" fmla="*/ 2695575 h 6711950"/>
              <a:gd name="connsiteX17" fmla="*/ 3126131 w 7180606"/>
              <a:gd name="connsiteY17" fmla="*/ 1285875 h 6711950"/>
              <a:gd name="connsiteX18" fmla="*/ 2253006 w 7180606"/>
              <a:gd name="connsiteY18" fmla="*/ 1035050 h 6711950"/>
              <a:gd name="connsiteX19" fmla="*/ 1757706 w 7180606"/>
              <a:gd name="connsiteY19" fmla="*/ 565150 h 6711950"/>
              <a:gd name="connsiteX20" fmla="*/ 729006 w 7180606"/>
              <a:gd name="connsiteY20" fmla="*/ 184150 h 6711950"/>
              <a:gd name="connsiteX21" fmla="*/ 0 w 7180606"/>
              <a:gd name="connsiteY21" fmla="*/ 6350 h 6711950"/>
              <a:gd name="connsiteX0" fmla="*/ 0 w 7180606"/>
              <a:gd name="connsiteY0" fmla="*/ 6350 h 6711950"/>
              <a:gd name="connsiteX1" fmla="*/ 7166092 w 7180606"/>
              <a:gd name="connsiteY1" fmla="*/ 0 h 6711950"/>
              <a:gd name="connsiteX2" fmla="*/ 7180606 w 7180606"/>
              <a:gd name="connsiteY2" fmla="*/ 6699250 h 6711950"/>
              <a:gd name="connsiteX3" fmla="*/ 6663988 w 7180606"/>
              <a:gd name="connsiteY3" fmla="*/ 6706870 h 6711950"/>
              <a:gd name="connsiteX4" fmla="*/ 6278906 w 7180606"/>
              <a:gd name="connsiteY4" fmla="*/ 6711950 h 6711950"/>
              <a:gd name="connsiteX5" fmla="*/ 5874320 w 7180606"/>
              <a:gd name="connsiteY5" fmla="*/ 6698524 h 6711950"/>
              <a:gd name="connsiteX6" fmla="*/ 5563715 w 7180606"/>
              <a:gd name="connsiteY6" fmla="*/ 6669858 h 6711950"/>
              <a:gd name="connsiteX7" fmla="*/ 5123206 w 7180606"/>
              <a:gd name="connsiteY7" fmla="*/ 6635750 h 6711950"/>
              <a:gd name="connsiteX8" fmla="*/ 4551706 w 7180606"/>
              <a:gd name="connsiteY8" fmla="*/ 6546850 h 6711950"/>
              <a:gd name="connsiteX9" fmla="*/ 3942106 w 7180606"/>
              <a:gd name="connsiteY9" fmla="*/ 6381750 h 6711950"/>
              <a:gd name="connsiteX10" fmla="*/ 3053106 w 7180606"/>
              <a:gd name="connsiteY10" fmla="*/ 5975350 h 6711950"/>
              <a:gd name="connsiteX11" fmla="*/ 2659406 w 7180606"/>
              <a:gd name="connsiteY11" fmla="*/ 5556250 h 6711950"/>
              <a:gd name="connsiteX12" fmla="*/ 2418106 w 7180606"/>
              <a:gd name="connsiteY12" fmla="*/ 5010150 h 6711950"/>
              <a:gd name="connsiteX13" fmla="*/ 2387600 w 7180606"/>
              <a:gd name="connsiteY13" fmla="*/ 4591050 h 6711950"/>
              <a:gd name="connsiteX14" fmla="*/ 2418106 w 7180606"/>
              <a:gd name="connsiteY14" fmla="*/ 4362450 h 6711950"/>
              <a:gd name="connsiteX15" fmla="*/ 2481606 w 7180606"/>
              <a:gd name="connsiteY15" fmla="*/ 3867150 h 6711950"/>
              <a:gd name="connsiteX16" fmla="*/ 3376956 w 7180606"/>
              <a:gd name="connsiteY16" fmla="*/ 2695575 h 6711950"/>
              <a:gd name="connsiteX17" fmla="*/ 3126131 w 7180606"/>
              <a:gd name="connsiteY17" fmla="*/ 1285875 h 6711950"/>
              <a:gd name="connsiteX18" fmla="*/ 2253006 w 7180606"/>
              <a:gd name="connsiteY18" fmla="*/ 1035050 h 6711950"/>
              <a:gd name="connsiteX19" fmla="*/ 1957731 w 7180606"/>
              <a:gd name="connsiteY19" fmla="*/ 336550 h 6711950"/>
              <a:gd name="connsiteX20" fmla="*/ 729006 w 7180606"/>
              <a:gd name="connsiteY20" fmla="*/ 184150 h 6711950"/>
              <a:gd name="connsiteX21" fmla="*/ 0 w 7180606"/>
              <a:gd name="connsiteY21" fmla="*/ 6350 h 6711950"/>
              <a:gd name="connsiteX0" fmla="*/ 0 w 7180606"/>
              <a:gd name="connsiteY0" fmla="*/ 6350 h 6711950"/>
              <a:gd name="connsiteX1" fmla="*/ 7166092 w 7180606"/>
              <a:gd name="connsiteY1" fmla="*/ 0 h 6711950"/>
              <a:gd name="connsiteX2" fmla="*/ 7180606 w 7180606"/>
              <a:gd name="connsiteY2" fmla="*/ 6699250 h 6711950"/>
              <a:gd name="connsiteX3" fmla="*/ 6663988 w 7180606"/>
              <a:gd name="connsiteY3" fmla="*/ 6706870 h 6711950"/>
              <a:gd name="connsiteX4" fmla="*/ 6278906 w 7180606"/>
              <a:gd name="connsiteY4" fmla="*/ 6711950 h 6711950"/>
              <a:gd name="connsiteX5" fmla="*/ 5874320 w 7180606"/>
              <a:gd name="connsiteY5" fmla="*/ 6698524 h 6711950"/>
              <a:gd name="connsiteX6" fmla="*/ 5563715 w 7180606"/>
              <a:gd name="connsiteY6" fmla="*/ 6669858 h 6711950"/>
              <a:gd name="connsiteX7" fmla="*/ 5123206 w 7180606"/>
              <a:gd name="connsiteY7" fmla="*/ 6635750 h 6711950"/>
              <a:gd name="connsiteX8" fmla="*/ 4551706 w 7180606"/>
              <a:gd name="connsiteY8" fmla="*/ 6546850 h 6711950"/>
              <a:gd name="connsiteX9" fmla="*/ 3942106 w 7180606"/>
              <a:gd name="connsiteY9" fmla="*/ 6381750 h 6711950"/>
              <a:gd name="connsiteX10" fmla="*/ 3053106 w 7180606"/>
              <a:gd name="connsiteY10" fmla="*/ 5975350 h 6711950"/>
              <a:gd name="connsiteX11" fmla="*/ 2659406 w 7180606"/>
              <a:gd name="connsiteY11" fmla="*/ 5556250 h 6711950"/>
              <a:gd name="connsiteX12" fmla="*/ 2418106 w 7180606"/>
              <a:gd name="connsiteY12" fmla="*/ 5010150 h 6711950"/>
              <a:gd name="connsiteX13" fmla="*/ 2387600 w 7180606"/>
              <a:gd name="connsiteY13" fmla="*/ 4591050 h 6711950"/>
              <a:gd name="connsiteX14" fmla="*/ 2418106 w 7180606"/>
              <a:gd name="connsiteY14" fmla="*/ 4362450 h 6711950"/>
              <a:gd name="connsiteX15" fmla="*/ 2481606 w 7180606"/>
              <a:gd name="connsiteY15" fmla="*/ 3867150 h 6711950"/>
              <a:gd name="connsiteX16" fmla="*/ 3376956 w 7180606"/>
              <a:gd name="connsiteY16" fmla="*/ 2695575 h 6711950"/>
              <a:gd name="connsiteX17" fmla="*/ 3126131 w 7180606"/>
              <a:gd name="connsiteY17" fmla="*/ 1285875 h 6711950"/>
              <a:gd name="connsiteX18" fmla="*/ 2253006 w 7180606"/>
              <a:gd name="connsiteY18" fmla="*/ 1035050 h 6711950"/>
              <a:gd name="connsiteX19" fmla="*/ 1957731 w 7180606"/>
              <a:gd name="connsiteY19" fmla="*/ 336550 h 6711950"/>
              <a:gd name="connsiteX20" fmla="*/ 767106 w 7180606"/>
              <a:gd name="connsiteY20" fmla="*/ 88900 h 6711950"/>
              <a:gd name="connsiteX21" fmla="*/ 0 w 7180606"/>
              <a:gd name="connsiteY21" fmla="*/ 6350 h 6711950"/>
              <a:gd name="connsiteX0" fmla="*/ 0 w 7180606"/>
              <a:gd name="connsiteY0" fmla="*/ 6350 h 6711950"/>
              <a:gd name="connsiteX1" fmla="*/ 7166092 w 7180606"/>
              <a:gd name="connsiteY1" fmla="*/ 0 h 6711950"/>
              <a:gd name="connsiteX2" fmla="*/ 7180606 w 7180606"/>
              <a:gd name="connsiteY2" fmla="*/ 6699250 h 6711950"/>
              <a:gd name="connsiteX3" fmla="*/ 6663988 w 7180606"/>
              <a:gd name="connsiteY3" fmla="*/ 6706870 h 6711950"/>
              <a:gd name="connsiteX4" fmla="*/ 6278906 w 7180606"/>
              <a:gd name="connsiteY4" fmla="*/ 6711950 h 6711950"/>
              <a:gd name="connsiteX5" fmla="*/ 5874320 w 7180606"/>
              <a:gd name="connsiteY5" fmla="*/ 6698524 h 6711950"/>
              <a:gd name="connsiteX6" fmla="*/ 5563715 w 7180606"/>
              <a:gd name="connsiteY6" fmla="*/ 6669858 h 6711950"/>
              <a:gd name="connsiteX7" fmla="*/ 5123206 w 7180606"/>
              <a:gd name="connsiteY7" fmla="*/ 6635750 h 6711950"/>
              <a:gd name="connsiteX8" fmla="*/ 4551706 w 7180606"/>
              <a:gd name="connsiteY8" fmla="*/ 6546850 h 6711950"/>
              <a:gd name="connsiteX9" fmla="*/ 3942106 w 7180606"/>
              <a:gd name="connsiteY9" fmla="*/ 6381750 h 6711950"/>
              <a:gd name="connsiteX10" fmla="*/ 3053106 w 7180606"/>
              <a:gd name="connsiteY10" fmla="*/ 5975350 h 6711950"/>
              <a:gd name="connsiteX11" fmla="*/ 2659406 w 7180606"/>
              <a:gd name="connsiteY11" fmla="*/ 5556250 h 6711950"/>
              <a:gd name="connsiteX12" fmla="*/ 2418106 w 7180606"/>
              <a:gd name="connsiteY12" fmla="*/ 5010150 h 6711950"/>
              <a:gd name="connsiteX13" fmla="*/ 2387600 w 7180606"/>
              <a:gd name="connsiteY13" fmla="*/ 4591050 h 6711950"/>
              <a:gd name="connsiteX14" fmla="*/ 2418106 w 7180606"/>
              <a:gd name="connsiteY14" fmla="*/ 4362450 h 6711950"/>
              <a:gd name="connsiteX15" fmla="*/ 2481606 w 7180606"/>
              <a:gd name="connsiteY15" fmla="*/ 3867150 h 6711950"/>
              <a:gd name="connsiteX16" fmla="*/ 3376956 w 7180606"/>
              <a:gd name="connsiteY16" fmla="*/ 2695575 h 6711950"/>
              <a:gd name="connsiteX17" fmla="*/ 3126131 w 7180606"/>
              <a:gd name="connsiteY17" fmla="*/ 1285875 h 6711950"/>
              <a:gd name="connsiteX18" fmla="*/ 2253006 w 7180606"/>
              <a:gd name="connsiteY18" fmla="*/ 1035050 h 6711950"/>
              <a:gd name="connsiteX19" fmla="*/ 1957731 w 7180606"/>
              <a:gd name="connsiteY19" fmla="*/ 336550 h 6711950"/>
              <a:gd name="connsiteX20" fmla="*/ 767106 w 7180606"/>
              <a:gd name="connsiteY20" fmla="*/ 88900 h 6711950"/>
              <a:gd name="connsiteX21" fmla="*/ 198781 w 7180606"/>
              <a:gd name="connsiteY21" fmla="*/ 19050 h 6711950"/>
              <a:gd name="connsiteX22" fmla="*/ 0 w 7180606"/>
              <a:gd name="connsiteY22" fmla="*/ 6350 h 6711950"/>
              <a:gd name="connsiteX0" fmla="*/ 229844 w 7410450"/>
              <a:gd name="connsiteY0" fmla="*/ 6350 h 6711950"/>
              <a:gd name="connsiteX1" fmla="*/ 7395936 w 7410450"/>
              <a:gd name="connsiteY1" fmla="*/ 0 h 6711950"/>
              <a:gd name="connsiteX2" fmla="*/ 7410450 w 7410450"/>
              <a:gd name="connsiteY2" fmla="*/ 6699250 h 6711950"/>
              <a:gd name="connsiteX3" fmla="*/ 6893832 w 7410450"/>
              <a:gd name="connsiteY3" fmla="*/ 6706870 h 6711950"/>
              <a:gd name="connsiteX4" fmla="*/ 6508750 w 7410450"/>
              <a:gd name="connsiteY4" fmla="*/ 6711950 h 6711950"/>
              <a:gd name="connsiteX5" fmla="*/ 6104164 w 7410450"/>
              <a:gd name="connsiteY5" fmla="*/ 6698524 h 6711950"/>
              <a:gd name="connsiteX6" fmla="*/ 5793559 w 7410450"/>
              <a:gd name="connsiteY6" fmla="*/ 6669858 h 6711950"/>
              <a:gd name="connsiteX7" fmla="*/ 5353050 w 7410450"/>
              <a:gd name="connsiteY7" fmla="*/ 6635750 h 6711950"/>
              <a:gd name="connsiteX8" fmla="*/ 4781550 w 7410450"/>
              <a:gd name="connsiteY8" fmla="*/ 6546850 h 6711950"/>
              <a:gd name="connsiteX9" fmla="*/ 4171950 w 7410450"/>
              <a:gd name="connsiteY9" fmla="*/ 6381750 h 6711950"/>
              <a:gd name="connsiteX10" fmla="*/ 3282950 w 7410450"/>
              <a:gd name="connsiteY10" fmla="*/ 5975350 h 6711950"/>
              <a:gd name="connsiteX11" fmla="*/ 2889250 w 7410450"/>
              <a:gd name="connsiteY11" fmla="*/ 5556250 h 6711950"/>
              <a:gd name="connsiteX12" fmla="*/ 2647950 w 7410450"/>
              <a:gd name="connsiteY12" fmla="*/ 5010150 h 6711950"/>
              <a:gd name="connsiteX13" fmla="*/ 2617444 w 7410450"/>
              <a:gd name="connsiteY13" fmla="*/ 4591050 h 6711950"/>
              <a:gd name="connsiteX14" fmla="*/ 2647950 w 7410450"/>
              <a:gd name="connsiteY14" fmla="*/ 4362450 h 6711950"/>
              <a:gd name="connsiteX15" fmla="*/ 2711450 w 7410450"/>
              <a:gd name="connsiteY15" fmla="*/ 3867150 h 6711950"/>
              <a:gd name="connsiteX16" fmla="*/ 3606800 w 7410450"/>
              <a:gd name="connsiteY16" fmla="*/ 2695575 h 6711950"/>
              <a:gd name="connsiteX17" fmla="*/ 3355975 w 7410450"/>
              <a:gd name="connsiteY17" fmla="*/ 1285875 h 6711950"/>
              <a:gd name="connsiteX18" fmla="*/ 2482850 w 7410450"/>
              <a:gd name="connsiteY18" fmla="*/ 1035050 h 6711950"/>
              <a:gd name="connsiteX19" fmla="*/ 2187575 w 7410450"/>
              <a:gd name="connsiteY19" fmla="*/ 336550 h 6711950"/>
              <a:gd name="connsiteX20" fmla="*/ 996950 w 7410450"/>
              <a:gd name="connsiteY20" fmla="*/ 88900 h 6711950"/>
              <a:gd name="connsiteX21" fmla="*/ 0 w 7410450"/>
              <a:gd name="connsiteY21" fmla="*/ 133350 h 6711950"/>
              <a:gd name="connsiteX22" fmla="*/ 229844 w 7410450"/>
              <a:gd name="connsiteY22" fmla="*/ 6350 h 6711950"/>
              <a:gd name="connsiteX0" fmla="*/ 0 w 7447306"/>
              <a:gd name="connsiteY0" fmla="*/ 0 h 6715125"/>
              <a:gd name="connsiteX1" fmla="*/ 7432792 w 7447306"/>
              <a:gd name="connsiteY1" fmla="*/ 3175 h 6715125"/>
              <a:gd name="connsiteX2" fmla="*/ 7447306 w 7447306"/>
              <a:gd name="connsiteY2" fmla="*/ 6702425 h 6715125"/>
              <a:gd name="connsiteX3" fmla="*/ 6930688 w 7447306"/>
              <a:gd name="connsiteY3" fmla="*/ 6710045 h 6715125"/>
              <a:gd name="connsiteX4" fmla="*/ 6545606 w 7447306"/>
              <a:gd name="connsiteY4" fmla="*/ 6715125 h 6715125"/>
              <a:gd name="connsiteX5" fmla="*/ 6141020 w 7447306"/>
              <a:gd name="connsiteY5" fmla="*/ 6701699 h 6715125"/>
              <a:gd name="connsiteX6" fmla="*/ 5830415 w 7447306"/>
              <a:gd name="connsiteY6" fmla="*/ 6673033 h 6715125"/>
              <a:gd name="connsiteX7" fmla="*/ 5389906 w 7447306"/>
              <a:gd name="connsiteY7" fmla="*/ 6638925 h 6715125"/>
              <a:gd name="connsiteX8" fmla="*/ 4818406 w 7447306"/>
              <a:gd name="connsiteY8" fmla="*/ 6550025 h 6715125"/>
              <a:gd name="connsiteX9" fmla="*/ 4208806 w 7447306"/>
              <a:gd name="connsiteY9" fmla="*/ 6384925 h 6715125"/>
              <a:gd name="connsiteX10" fmla="*/ 3319806 w 7447306"/>
              <a:gd name="connsiteY10" fmla="*/ 5978525 h 6715125"/>
              <a:gd name="connsiteX11" fmla="*/ 2926106 w 7447306"/>
              <a:gd name="connsiteY11" fmla="*/ 5559425 h 6715125"/>
              <a:gd name="connsiteX12" fmla="*/ 2684806 w 7447306"/>
              <a:gd name="connsiteY12" fmla="*/ 5013325 h 6715125"/>
              <a:gd name="connsiteX13" fmla="*/ 2654300 w 7447306"/>
              <a:gd name="connsiteY13" fmla="*/ 4594225 h 6715125"/>
              <a:gd name="connsiteX14" fmla="*/ 2684806 w 7447306"/>
              <a:gd name="connsiteY14" fmla="*/ 4365625 h 6715125"/>
              <a:gd name="connsiteX15" fmla="*/ 2748306 w 7447306"/>
              <a:gd name="connsiteY15" fmla="*/ 3870325 h 6715125"/>
              <a:gd name="connsiteX16" fmla="*/ 3643656 w 7447306"/>
              <a:gd name="connsiteY16" fmla="*/ 2698750 h 6715125"/>
              <a:gd name="connsiteX17" fmla="*/ 3392831 w 7447306"/>
              <a:gd name="connsiteY17" fmla="*/ 1289050 h 6715125"/>
              <a:gd name="connsiteX18" fmla="*/ 2519706 w 7447306"/>
              <a:gd name="connsiteY18" fmla="*/ 1038225 h 6715125"/>
              <a:gd name="connsiteX19" fmla="*/ 2224431 w 7447306"/>
              <a:gd name="connsiteY19" fmla="*/ 339725 h 6715125"/>
              <a:gd name="connsiteX20" fmla="*/ 1033806 w 7447306"/>
              <a:gd name="connsiteY20" fmla="*/ 92075 h 6715125"/>
              <a:gd name="connsiteX21" fmla="*/ 36856 w 7447306"/>
              <a:gd name="connsiteY21" fmla="*/ 136525 h 6715125"/>
              <a:gd name="connsiteX22" fmla="*/ 0 w 7447306"/>
              <a:gd name="connsiteY22" fmla="*/ 0 h 6715125"/>
              <a:gd name="connsiteX0" fmla="*/ 0 w 7447306"/>
              <a:gd name="connsiteY0" fmla="*/ 0 h 6715125"/>
              <a:gd name="connsiteX1" fmla="*/ 7432792 w 7447306"/>
              <a:gd name="connsiteY1" fmla="*/ 3175 h 6715125"/>
              <a:gd name="connsiteX2" fmla="*/ 7447306 w 7447306"/>
              <a:gd name="connsiteY2" fmla="*/ 6702425 h 6715125"/>
              <a:gd name="connsiteX3" fmla="*/ 6930688 w 7447306"/>
              <a:gd name="connsiteY3" fmla="*/ 6710045 h 6715125"/>
              <a:gd name="connsiteX4" fmla="*/ 6545606 w 7447306"/>
              <a:gd name="connsiteY4" fmla="*/ 6715125 h 6715125"/>
              <a:gd name="connsiteX5" fmla="*/ 6141020 w 7447306"/>
              <a:gd name="connsiteY5" fmla="*/ 6701699 h 6715125"/>
              <a:gd name="connsiteX6" fmla="*/ 5830415 w 7447306"/>
              <a:gd name="connsiteY6" fmla="*/ 6673033 h 6715125"/>
              <a:gd name="connsiteX7" fmla="*/ 5389906 w 7447306"/>
              <a:gd name="connsiteY7" fmla="*/ 6638925 h 6715125"/>
              <a:gd name="connsiteX8" fmla="*/ 4818406 w 7447306"/>
              <a:gd name="connsiteY8" fmla="*/ 6550025 h 6715125"/>
              <a:gd name="connsiteX9" fmla="*/ 4208806 w 7447306"/>
              <a:gd name="connsiteY9" fmla="*/ 6384925 h 6715125"/>
              <a:gd name="connsiteX10" fmla="*/ 3319806 w 7447306"/>
              <a:gd name="connsiteY10" fmla="*/ 5978525 h 6715125"/>
              <a:gd name="connsiteX11" fmla="*/ 2926106 w 7447306"/>
              <a:gd name="connsiteY11" fmla="*/ 5559425 h 6715125"/>
              <a:gd name="connsiteX12" fmla="*/ 2684806 w 7447306"/>
              <a:gd name="connsiteY12" fmla="*/ 5013325 h 6715125"/>
              <a:gd name="connsiteX13" fmla="*/ 2654300 w 7447306"/>
              <a:gd name="connsiteY13" fmla="*/ 4594225 h 6715125"/>
              <a:gd name="connsiteX14" fmla="*/ 2684806 w 7447306"/>
              <a:gd name="connsiteY14" fmla="*/ 4365625 h 6715125"/>
              <a:gd name="connsiteX15" fmla="*/ 2748306 w 7447306"/>
              <a:gd name="connsiteY15" fmla="*/ 3870325 h 6715125"/>
              <a:gd name="connsiteX16" fmla="*/ 3643656 w 7447306"/>
              <a:gd name="connsiteY16" fmla="*/ 2698750 h 6715125"/>
              <a:gd name="connsiteX17" fmla="*/ 3392831 w 7447306"/>
              <a:gd name="connsiteY17" fmla="*/ 1289050 h 6715125"/>
              <a:gd name="connsiteX18" fmla="*/ 2948331 w 7447306"/>
              <a:gd name="connsiteY18" fmla="*/ 714375 h 6715125"/>
              <a:gd name="connsiteX19" fmla="*/ 2224431 w 7447306"/>
              <a:gd name="connsiteY19" fmla="*/ 339725 h 6715125"/>
              <a:gd name="connsiteX20" fmla="*/ 1033806 w 7447306"/>
              <a:gd name="connsiteY20" fmla="*/ 92075 h 6715125"/>
              <a:gd name="connsiteX21" fmla="*/ 36856 w 7447306"/>
              <a:gd name="connsiteY21" fmla="*/ 136525 h 6715125"/>
              <a:gd name="connsiteX22" fmla="*/ 0 w 7447306"/>
              <a:gd name="connsiteY22" fmla="*/ 0 h 6715125"/>
              <a:gd name="connsiteX0" fmla="*/ 0 w 7447306"/>
              <a:gd name="connsiteY0" fmla="*/ 0 h 6715125"/>
              <a:gd name="connsiteX1" fmla="*/ 7432792 w 7447306"/>
              <a:gd name="connsiteY1" fmla="*/ 3175 h 6715125"/>
              <a:gd name="connsiteX2" fmla="*/ 7447306 w 7447306"/>
              <a:gd name="connsiteY2" fmla="*/ 6702425 h 6715125"/>
              <a:gd name="connsiteX3" fmla="*/ 6930688 w 7447306"/>
              <a:gd name="connsiteY3" fmla="*/ 6710045 h 6715125"/>
              <a:gd name="connsiteX4" fmla="*/ 6545606 w 7447306"/>
              <a:gd name="connsiteY4" fmla="*/ 6715125 h 6715125"/>
              <a:gd name="connsiteX5" fmla="*/ 6141020 w 7447306"/>
              <a:gd name="connsiteY5" fmla="*/ 6701699 h 6715125"/>
              <a:gd name="connsiteX6" fmla="*/ 5830415 w 7447306"/>
              <a:gd name="connsiteY6" fmla="*/ 6673033 h 6715125"/>
              <a:gd name="connsiteX7" fmla="*/ 5389906 w 7447306"/>
              <a:gd name="connsiteY7" fmla="*/ 6638925 h 6715125"/>
              <a:gd name="connsiteX8" fmla="*/ 4818406 w 7447306"/>
              <a:gd name="connsiteY8" fmla="*/ 6550025 h 6715125"/>
              <a:gd name="connsiteX9" fmla="*/ 4208806 w 7447306"/>
              <a:gd name="connsiteY9" fmla="*/ 6384925 h 6715125"/>
              <a:gd name="connsiteX10" fmla="*/ 3319806 w 7447306"/>
              <a:gd name="connsiteY10" fmla="*/ 5978525 h 6715125"/>
              <a:gd name="connsiteX11" fmla="*/ 2926106 w 7447306"/>
              <a:gd name="connsiteY11" fmla="*/ 5559425 h 6715125"/>
              <a:gd name="connsiteX12" fmla="*/ 2684806 w 7447306"/>
              <a:gd name="connsiteY12" fmla="*/ 5013325 h 6715125"/>
              <a:gd name="connsiteX13" fmla="*/ 2654300 w 7447306"/>
              <a:gd name="connsiteY13" fmla="*/ 4594225 h 6715125"/>
              <a:gd name="connsiteX14" fmla="*/ 2684806 w 7447306"/>
              <a:gd name="connsiteY14" fmla="*/ 4365625 h 6715125"/>
              <a:gd name="connsiteX15" fmla="*/ 3443631 w 7447306"/>
              <a:gd name="connsiteY15" fmla="*/ 3870325 h 6715125"/>
              <a:gd name="connsiteX16" fmla="*/ 3643656 w 7447306"/>
              <a:gd name="connsiteY16" fmla="*/ 2698750 h 6715125"/>
              <a:gd name="connsiteX17" fmla="*/ 3392831 w 7447306"/>
              <a:gd name="connsiteY17" fmla="*/ 1289050 h 6715125"/>
              <a:gd name="connsiteX18" fmla="*/ 2948331 w 7447306"/>
              <a:gd name="connsiteY18" fmla="*/ 714375 h 6715125"/>
              <a:gd name="connsiteX19" fmla="*/ 2224431 w 7447306"/>
              <a:gd name="connsiteY19" fmla="*/ 339725 h 6715125"/>
              <a:gd name="connsiteX20" fmla="*/ 1033806 w 7447306"/>
              <a:gd name="connsiteY20" fmla="*/ 92075 h 6715125"/>
              <a:gd name="connsiteX21" fmla="*/ 36856 w 7447306"/>
              <a:gd name="connsiteY21" fmla="*/ 136525 h 6715125"/>
              <a:gd name="connsiteX22" fmla="*/ 0 w 7447306"/>
              <a:gd name="connsiteY22" fmla="*/ 0 h 6715125"/>
              <a:gd name="connsiteX0" fmla="*/ 0 w 7447306"/>
              <a:gd name="connsiteY0" fmla="*/ 0 h 6715125"/>
              <a:gd name="connsiteX1" fmla="*/ 7432792 w 7447306"/>
              <a:gd name="connsiteY1" fmla="*/ 3175 h 6715125"/>
              <a:gd name="connsiteX2" fmla="*/ 7447306 w 7447306"/>
              <a:gd name="connsiteY2" fmla="*/ 6702425 h 6715125"/>
              <a:gd name="connsiteX3" fmla="*/ 6930688 w 7447306"/>
              <a:gd name="connsiteY3" fmla="*/ 6710045 h 6715125"/>
              <a:gd name="connsiteX4" fmla="*/ 6545606 w 7447306"/>
              <a:gd name="connsiteY4" fmla="*/ 6715125 h 6715125"/>
              <a:gd name="connsiteX5" fmla="*/ 6141020 w 7447306"/>
              <a:gd name="connsiteY5" fmla="*/ 6701699 h 6715125"/>
              <a:gd name="connsiteX6" fmla="*/ 5830415 w 7447306"/>
              <a:gd name="connsiteY6" fmla="*/ 6673033 h 6715125"/>
              <a:gd name="connsiteX7" fmla="*/ 5389906 w 7447306"/>
              <a:gd name="connsiteY7" fmla="*/ 6638925 h 6715125"/>
              <a:gd name="connsiteX8" fmla="*/ 4818406 w 7447306"/>
              <a:gd name="connsiteY8" fmla="*/ 6550025 h 6715125"/>
              <a:gd name="connsiteX9" fmla="*/ 4208806 w 7447306"/>
              <a:gd name="connsiteY9" fmla="*/ 6384925 h 6715125"/>
              <a:gd name="connsiteX10" fmla="*/ 3319806 w 7447306"/>
              <a:gd name="connsiteY10" fmla="*/ 5978525 h 6715125"/>
              <a:gd name="connsiteX11" fmla="*/ 2926106 w 7447306"/>
              <a:gd name="connsiteY11" fmla="*/ 5559425 h 6715125"/>
              <a:gd name="connsiteX12" fmla="*/ 2684806 w 7447306"/>
              <a:gd name="connsiteY12" fmla="*/ 5013325 h 6715125"/>
              <a:gd name="connsiteX13" fmla="*/ 2654300 w 7447306"/>
              <a:gd name="connsiteY13" fmla="*/ 4594225 h 6715125"/>
              <a:gd name="connsiteX14" fmla="*/ 3342031 w 7447306"/>
              <a:gd name="connsiteY14" fmla="*/ 4365625 h 6715125"/>
              <a:gd name="connsiteX15" fmla="*/ 3443631 w 7447306"/>
              <a:gd name="connsiteY15" fmla="*/ 3870325 h 6715125"/>
              <a:gd name="connsiteX16" fmla="*/ 3643656 w 7447306"/>
              <a:gd name="connsiteY16" fmla="*/ 2698750 h 6715125"/>
              <a:gd name="connsiteX17" fmla="*/ 3392831 w 7447306"/>
              <a:gd name="connsiteY17" fmla="*/ 1289050 h 6715125"/>
              <a:gd name="connsiteX18" fmla="*/ 2948331 w 7447306"/>
              <a:gd name="connsiteY18" fmla="*/ 714375 h 6715125"/>
              <a:gd name="connsiteX19" fmla="*/ 2224431 w 7447306"/>
              <a:gd name="connsiteY19" fmla="*/ 339725 h 6715125"/>
              <a:gd name="connsiteX20" fmla="*/ 1033806 w 7447306"/>
              <a:gd name="connsiteY20" fmla="*/ 92075 h 6715125"/>
              <a:gd name="connsiteX21" fmla="*/ 36856 w 7447306"/>
              <a:gd name="connsiteY21" fmla="*/ 136525 h 6715125"/>
              <a:gd name="connsiteX22" fmla="*/ 0 w 7447306"/>
              <a:gd name="connsiteY22" fmla="*/ 0 h 6715125"/>
              <a:gd name="connsiteX0" fmla="*/ 0 w 7447306"/>
              <a:gd name="connsiteY0" fmla="*/ 0 h 6715125"/>
              <a:gd name="connsiteX1" fmla="*/ 7432792 w 7447306"/>
              <a:gd name="connsiteY1" fmla="*/ 3175 h 6715125"/>
              <a:gd name="connsiteX2" fmla="*/ 7447306 w 7447306"/>
              <a:gd name="connsiteY2" fmla="*/ 6702425 h 6715125"/>
              <a:gd name="connsiteX3" fmla="*/ 6930688 w 7447306"/>
              <a:gd name="connsiteY3" fmla="*/ 6710045 h 6715125"/>
              <a:gd name="connsiteX4" fmla="*/ 6545606 w 7447306"/>
              <a:gd name="connsiteY4" fmla="*/ 6715125 h 6715125"/>
              <a:gd name="connsiteX5" fmla="*/ 6141020 w 7447306"/>
              <a:gd name="connsiteY5" fmla="*/ 6701699 h 6715125"/>
              <a:gd name="connsiteX6" fmla="*/ 5830415 w 7447306"/>
              <a:gd name="connsiteY6" fmla="*/ 6673033 h 6715125"/>
              <a:gd name="connsiteX7" fmla="*/ 5389906 w 7447306"/>
              <a:gd name="connsiteY7" fmla="*/ 6638925 h 6715125"/>
              <a:gd name="connsiteX8" fmla="*/ 4818406 w 7447306"/>
              <a:gd name="connsiteY8" fmla="*/ 6550025 h 6715125"/>
              <a:gd name="connsiteX9" fmla="*/ 4208806 w 7447306"/>
              <a:gd name="connsiteY9" fmla="*/ 6384925 h 6715125"/>
              <a:gd name="connsiteX10" fmla="*/ 3319806 w 7447306"/>
              <a:gd name="connsiteY10" fmla="*/ 5978525 h 6715125"/>
              <a:gd name="connsiteX11" fmla="*/ 2926106 w 7447306"/>
              <a:gd name="connsiteY11" fmla="*/ 5559425 h 6715125"/>
              <a:gd name="connsiteX12" fmla="*/ 2684806 w 7447306"/>
              <a:gd name="connsiteY12" fmla="*/ 5013325 h 6715125"/>
              <a:gd name="connsiteX13" fmla="*/ 3349625 w 7447306"/>
              <a:gd name="connsiteY13" fmla="*/ 4660900 h 6715125"/>
              <a:gd name="connsiteX14" fmla="*/ 3342031 w 7447306"/>
              <a:gd name="connsiteY14" fmla="*/ 4365625 h 6715125"/>
              <a:gd name="connsiteX15" fmla="*/ 3443631 w 7447306"/>
              <a:gd name="connsiteY15" fmla="*/ 3870325 h 6715125"/>
              <a:gd name="connsiteX16" fmla="*/ 3643656 w 7447306"/>
              <a:gd name="connsiteY16" fmla="*/ 2698750 h 6715125"/>
              <a:gd name="connsiteX17" fmla="*/ 3392831 w 7447306"/>
              <a:gd name="connsiteY17" fmla="*/ 1289050 h 6715125"/>
              <a:gd name="connsiteX18" fmla="*/ 2948331 w 7447306"/>
              <a:gd name="connsiteY18" fmla="*/ 714375 h 6715125"/>
              <a:gd name="connsiteX19" fmla="*/ 2224431 w 7447306"/>
              <a:gd name="connsiteY19" fmla="*/ 339725 h 6715125"/>
              <a:gd name="connsiteX20" fmla="*/ 1033806 w 7447306"/>
              <a:gd name="connsiteY20" fmla="*/ 92075 h 6715125"/>
              <a:gd name="connsiteX21" fmla="*/ 36856 w 7447306"/>
              <a:gd name="connsiteY21" fmla="*/ 136525 h 6715125"/>
              <a:gd name="connsiteX22" fmla="*/ 0 w 7447306"/>
              <a:gd name="connsiteY22" fmla="*/ 0 h 6715125"/>
              <a:gd name="connsiteX0" fmla="*/ 0 w 7447306"/>
              <a:gd name="connsiteY0" fmla="*/ 0 h 6715125"/>
              <a:gd name="connsiteX1" fmla="*/ 7432792 w 7447306"/>
              <a:gd name="connsiteY1" fmla="*/ 3175 h 6715125"/>
              <a:gd name="connsiteX2" fmla="*/ 7447306 w 7447306"/>
              <a:gd name="connsiteY2" fmla="*/ 6702425 h 6715125"/>
              <a:gd name="connsiteX3" fmla="*/ 6930688 w 7447306"/>
              <a:gd name="connsiteY3" fmla="*/ 6710045 h 6715125"/>
              <a:gd name="connsiteX4" fmla="*/ 6545606 w 7447306"/>
              <a:gd name="connsiteY4" fmla="*/ 6715125 h 6715125"/>
              <a:gd name="connsiteX5" fmla="*/ 6141020 w 7447306"/>
              <a:gd name="connsiteY5" fmla="*/ 6701699 h 6715125"/>
              <a:gd name="connsiteX6" fmla="*/ 5830415 w 7447306"/>
              <a:gd name="connsiteY6" fmla="*/ 6673033 h 6715125"/>
              <a:gd name="connsiteX7" fmla="*/ 5389906 w 7447306"/>
              <a:gd name="connsiteY7" fmla="*/ 6638925 h 6715125"/>
              <a:gd name="connsiteX8" fmla="*/ 4818406 w 7447306"/>
              <a:gd name="connsiteY8" fmla="*/ 6550025 h 6715125"/>
              <a:gd name="connsiteX9" fmla="*/ 4208806 w 7447306"/>
              <a:gd name="connsiteY9" fmla="*/ 6384925 h 6715125"/>
              <a:gd name="connsiteX10" fmla="*/ 3319806 w 7447306"/>
              <a:gd name="connsiteY10" fmla="*/ 5978525 h 6715125"/>
              <a:gd name="connsiteX11" fmla="*/ 2926106 w 7447306"/>
              <a:gd name="connsiteY11" fmla="*/ 5559425 h 6715125"/>
              <a:gd name="connsiteX12" fmla="*/ 3475381 w 7447306"/>
              <a:gd name="connsiteY12" fmla="*/ 5156200 h 6715125"/>
              <a:gd name="connsiteX13" fmla="*/ 3349625 w 7447306"/>
              <a:gd name="connsiteY13" fmla="*/ 4660900 h 6715125"/>
              <a:gd name="connsiteX14" fmla="*/ 3342031 w 7447306"/>
              <a:gd name="connsiteY14" fmla="*/ 4365625 h 6715125"/>
              <a:gd name="connsiteX15" fmla="*/ 3443631 w 7447306"/>
              <a:gd name="connsiteY15" fmla="*/ 3870325 h 6715125"/>
              <a:gd name="connsiteX16" fmla="*/ 3643656 w 7447306"/>
              <a:gd name="connsiteY16" fmla="*/ 2698750 h 6715125"/>
              <a:gd name="connsiteX17" fmla="*/ 3392831 w 7447306"/>
              <a:gd name="connsiteY17" fmla="*/ 1289050 h 6715125"/>
              <a:gd name="connsiteX18" fmla="*/ 2948331 w 7447306"/>
              <a:gd name="connsiteY18" fmla="*/ 714375 h 6715125"/>
              <a:gd name="connsiteX19" fmla="*/ 2224431 w 7447306"/>
              <a:gd name="connsiteY19" fmla="*/ 339725 h 6715125"/>
              <a:gd name="connsiteX20" fmla="*/ 1033806 w 7447306"/>
              <a:gd name="connsiteY20" fmla="*/ 92075 h 6715125"/>
              <a:gd name="connsiteX21" fmla="*/ 36856 w 7447306"/>
              <a:gd name="connsiteY21" fmla="*/ 136525 h 6715125"/>
              <a:gd name="connsiteX22" fmla="*/ 0 w 7447306"/>
              <a:gd name="connsiteY22" fmla="*/ 0 h 6715125"/>
              <a:gd name="connsiteX0" fmla="*/ 0 w 7447306"/>
              <a:gd name="connsiteY0" fmla="*/ 0 h 6715125"/>
              <a:gd name="connsiteX1" fmla="*/ 7432792 w 7447306"/>
              <a:gd name="connsiteY1" fmla="*/ 3175 h 6715125"/>
              <a:gd name="connsiteX2" fmla="*/ 7447306 w 7447306"/>
              <a:gd name="connsiteY2" fmla="*/ 6702425 h 6715125"/>
              <a:gd name="connsiteX3" fmla="*/ 6930688 w 7447306"/>
              <a:gd name="connsiteY3" fmla="*/ 6710045 h 6715125"/>
              <a:gd name="connsiteX4" fmla="*/ 6545606 w 7447306"/>
              <a:gd name="connsiteY4" fmla="*/ 6715125 h 6715125"/>
              <a:gd name="connsiteX5" fmla="*/ 6141020 w 7447306"/>
              <a:gd name="connsiteY5" fmla="*/ 6701699 h 6715125"/>
              <a:gd name="connsiteX6" fmla="*/ 5830415 w 7447306"/>
              <a:gd name="connsiteY6" fmla="*/ 6673033 h 6715125"/>
              <a:gd name="connsiteX7" fmla="*/ 5389906 w 7447306"/>
              <a:gd name="connsiteY7" fmla="*/ 6638925 h 6715125"/>
              <a:gd name="connsiteX8" fmla="*/ 4818406 w 7447306"/>
              <a:gd name="connsiteY8" fmla="*/ 6550025 h 6715125"/>
              <a:gd name="connsiteX9" fmla="*/ 4208806 w 7447306"/>
              <a:gd name="connsiteY9" fmla="*/ 6384925 h 6715125"/>
              <a:gd name="connsiteX10" fmla="*/ 3319806 w 7447306"/>
              <a:gd name="connsiteY10" fmla="*/ 5978525 h 6715125"/>
              <a:gd name="connsiteX11" fmla="*/ 3592856 w 7447306"/>
              <a:gd name="connsiteY11" fmla="*/ 5597525 h 6715125"/>
              <a:gd name="connsiteX12" fmla="*/ 3475381 w 7447306"/>
              <a:gd name="connsiteY12" fmla="*/ 5156200 h 6715125"/>
              <a:gd name="connsiteX13" fmla="*/ 3349625 w 7447306"/>
              <a:gd name="connsiteY13" fmla="*/ 4660900 h 6715125"/>
              <a:gd name="connsiteX14" fmla="*/ 3342031 w 7447306"/>
              <a:gd name="connsiteY14" fmla="*/ 4365625 h 6715125"/>
              <a:gd name="connsiteX15" fmla="*/ 3443631 w 7447306"/>
              <a:gd name="connsiteY15" fmla="*/ 3870325 h 6715125"/>
              <a:gd name="connsiteX16" fmla="*/ 3643656 w 7447306"/>
              <a:gd name="connsiteY16" fmla="*/ 2698750 h 6715125"/>
              <a:gd name="connsiteX17" fmla="*/ 3392831 w 7447306"/>
              <a:gd name="connsiteY17" fmla="*/ 1289050 h 6715125"/>
              <a:gd name="connsiteX18" fmla="*/ 2948331 w 7447306"/>
              <a:gd name="connsiteY18" fmla="*/ 714375 h 6715125"/>
              <a:gd name="connsiteX19" fmla="*/ 2224431 w 7447306"/>
              <a:gd name="connsiteY19" fmla="*/ 339725 h 6715125"/>
              <a:gd name="connsiteX20" fmla="*/ 1033806 w 7447306"/>
              <a:gd name="connsiteY20" fmla="*/ 92075 h 6715125"/>
              <a:gd name="connsiteX21" fmla="*/ 36856 w 7447306"/>
              <a:gd name="connsiteY21" fmla="*/ 136525 h 6715125"/>
              <a:gd name="connsiteX22" fmla="*/ 0 w 7447306"/>
              <a:gd name="connsiteY22" fmla="*/ 0 h 6715125"/>
              <a:gd name="connsiteX0" fmla="*/ 0 w 7447306"/>
              <a:gd name="connsiteY0" fmla="*/ 0 h 6715125"/>
              <a:gd name="connsiteX1" fmla="*/ 7432792 w 7447306"/>
              <a:gd name="connsiteY1" fmla="*/ 3175 h 6715125"/>
              <a:gd name="connsiteX2" fmla="*/ 7447306 w 7447306"/>
              <a:gd name="connsiteY2" fmla="*/ 6702425 h 6715125"/>
              <a:gd name="connsiteX3" fmla="*/ 6930688 w 7447306"/>
              <a:gd name="connsiteY3" fmla="*/ 6710045 h 6715125"/>
              <a:gd name="connsiteX4" fmla="*/ 6545606 w 7447306"/>
              <a:gd name="connsiteY4" fmla="*/ 6715125 h 6715125"/>
              <a:gd name="connsiteX5" fmla="*/ 6141020 w 7447306"/>
              <a:gd name="connsiteY5" fmla="*/ 6701699 h 6715125"/>
              <a:gd name="connsiteX6" fmla="*/ 5830415 w 7447306"/>
              <a:gd name="connsiteY6" fmla="*/ 6673033 h 6715125"/>
              <a:gd name="connsiteX7" fmla="*/ 5389906 w 7447306"/>
              <a:gd name="connsiteY7" fmla="*/ 6638925 h 6715125"/>
              <a:gd name="connsiteX8" fmla="*/ 4818406 w 7447306"/>
              <a:gd name="connsiteY8" fmla="*/ 6550025 h 6715125"/>
              <a:gd name="connsiteX9" fmla="*/ 4208806 w 7447306"/>
              <a:gd name="connsiteY9" fmla="*/ 6384925 h 6715125"/>
              <a:gd name="connsiteX10" fmla="*/ 3929406 w 7447306"/>
              <a:gd name="connsiteY10" fmla="*/ 5807075 h 6715125"/>
              <a:gd name="connsiteX11" fmla="*/ 3592856 w 7447306"/>
              <a:gd name="connsiteY11" fmla="*/ 5597525 h 6715125"/>
              <a:gd name="connsiteX12" fmla="*/ 3475381 w 7447306"/>
              <a:gd name="connsiteY12" fmla="*/ 5156200 h 6715125"/>
              <a:gd name="connsiteX13" fmla="*/ 3349625 w 7447306"/>
              <a:gd name="connsiteY13" fmla="*/ 4660900 h 6715125"/>
              <a:gd name="connsiteX14" fmla="*/ 3342031 w 7447306"/>
              <a:gd name="connsiteY14" fmla="*/ 4365625 h 6715125"/>
              <a:gd name="connsiteX15" fmla="*/ 3443631 w 7447306"/>
              <a:gd name="connsiteY15" fmla="*/ 3870325 h 6715125"/>
              <a:gd name="connsiteX16" fmla="*/ 3643656 w 7447306"/>
              <a:gd name="connsiteY16" fmla="*/ 2698750 h 6715125"/>
              <a:gd name="connsiteX17" fmla="*/ 3392831 w 7447306"/>
              <a:gd name="connsiteY17" fmla="*/ 1289050 h 6715125"/>
              <a:gd name="connsiteX18" fmla="*/ 2948331 w 7447306"/>
              <a:gd name="connsiteY18" fmla="*/ 714375 h 6715125"/>
              <a:gd name="connsiteX19" fmla="*/ 2224431 w 7447306"/>
              <a:gd name="connsiteY19" fmla="*/ 339725 h 6715125"/>
              <a:gd name="connsiteX20" fmla="*/ 1033806 w 7447306"/>
              <a:gd name="connsiteY20" fmla="*/ 92075 h 6715125"/>
              <a:gd name="connsiteX21" fmla="*/ 36856 w 7447306"/>
              <a:gd name="connsiteY21" fmla="*/ 136525 h 6715125"/>
              <a:gd name="connsiteX22" fmla="*/ 0 w 7447306"/>
              <a:gd name="connsiteY22" fmla="*/ 0 h 6715125"/>
              <a:gd name="connsiteX0" fmla="*/ 0 w 7447306"/>
              <a:gd name="connsiteY0" fmla="*/ 0 h 6715125"/>
              <a:gd name="connsiteX1" fmla="*/ 7432792 w 7447306"/>
              <a:gd name="connsiteY1" fmla="*/ 3175 h 6715125"/>
              <a:gd name="connsiteX2" fmla="*/ 7447306 w 7447306"/>
              <a:gd name="connsiteY2" fmla="*/ 6702425 h 6715125"/>
              <a:gd name="connsiteX3" fmla="*/ 6930688 w 7447306"/>
              <a:gd name="connsiteY3" fmla="*/ 6710045 h 6715125"/>
              <a:gd name="connsiteX4" fmla="*/ 6545606 w 7447306"/>
              <a:gd name="connsiteY4" fmla="*/ 6715125 h 6715125"/>
              <a:gd name="connsiteX5" fmla="*/ 6141020 w 7447306"/>
              <a:gd name="connsiteY5" fmla="*/ 6701699 h 6715125"/>
              <a:gd name="connsiteX6" fmla="*/ 5830415 w 7447306"/>
              <a:gd name="connsiteY6" fmla="*/ 6673033 h 6715125"/>
              <a:gd name="connsiteX7" fmla="*/ 5389906 w 7447306"/>
              <a:gd name="connsiteY7" fmla="*/ 6638925 h 6715125"/>
              <a:gd name="connsiteX8" fmla="*/ 4818406 w 7447306"/>
              <a:gd name="connsiteY8" fmla="*/ 6550025 h 6715125"/>
              <a:gd name="connsiteX9" fmla="*/ 4275481 w 7447306"/>
              <a:gd name="connsiteY9" fmla="*/ 6137275 h 6715125"/>
              <a:gd name="connsiteX10" fmla="*/ 3929406 w 7447306"/>
              <a:gd name="connsiteY10" fmla="*/ 5807075 h 6715125"/>
              <a:gd name="connsiteX11" fmla="*/ 3592856 w 7447306"/>
              <a:gd name="connsiteY11" fmla="*/ 5597525 h 6715125"/>
              <a:gd name="connsiteX12" fmla="*/ 3475381 w 7447306"/>
              <a:gd name="connsiteY12" fmla="*/ 5156200 h 6715125"/>
              <a:gd name="connsiteX13" fmla="*/ 3349625 w 7447306"/>
              <a:gd name="connsiteY13" fmla="*/ 4660900 h 6715125"/>
              <a:gd name="connsiteX14" fmla="*/ 3342031 w 7447306"/>
              <a:gd name="connsiteY14" fmla="*/ 4365625 h 6715125"/>
              <a:gd name="connsiteX15" fmla="*/ 3443631 w 7447306"/>
              <a:gd name="connsiteY15" fmla="*/ 3870325 h 6715125"/>
              <a:gd name="connsiteX16" fmla="*/ 3643656 w 7447306"/>
              <a:gd name="connsiteY16" fmla="*/ 2698750 h 6715125"/>
              <a:gd name="connsiteX17" fmla="*/ 3392831 w 7447306"/>
              <a:gd name="connsiteY17" fmla="*/ 1289050 h 6715125"/>
              <a:gd name="connsiteX18" fmla="*/ 2948331 w 7447306"/>
              <a:gd name="connsiteY18" fmla="*/ 714375 h 6715125"/>
              <a:gd name="connsiteX19" fmla="*/ 2224431 w 7447306"/>
              <a:gd name="connsiteY19" fmla="*/ 339725 h 6715125"/>
              <a:gd name="connsiteX20" fmla="*/ 1033806 w 7447306"/>
              <a:gd name="connsiteY20" fmla="*/ 92075 h 6715125"/>
              <a:gd name="connsiteX21" fmla="*/ 36856 w 7447306"/>
              <a:gd name="connsiteY21" fmla="*/ 136525 h 6715125"/>
              <a:gd name="connsiteX22" fmla="*/ 0 w 7447306"/>
              <a:gd name="connsiteY22" fmla="*/ 0 h 6715125"/>
              <a:gd name="connsiteX0" fmla="*/ 0 w 7447306"/>
              <a:gd name="connsiteY0" fmla="*/ 0 h 6715125"/>
              <a:gd name="connsiteX1" fmla="*/ 7432792 w 7447306"/>
              <a:gd name="connsiteY1" fmla="*/ 3175 h 6715125"/>
              <a:gd name="connsiteX2" fmla="*/ 7447306 w 7447306"/>
              <a:gd name="connsiteY2" fmla="*/ 6702425 h 6715125"/>
              <a:gd name="connsiteX3" fmla="*/ 6930688 w 7447306"/>
              <a:gd name="connsiteY3" fmla="*/ 6710045 h 6715125"/>
              <a:gd name="connsiteX4" fmla="*/ 6545606 w 7447306"/>
              <a:gd name="connsiteY4" fmla="*/ 6715125 h 6715125"/>
              <a:gd name="connsiteX5" fmla="*/ 6141020 w 7447306"/>
              <a:gd name="connsiteY5" fmla="*/ 6701699 h 6715125"/>
              <a:gd name="connsiteX6" fmla="*/ 5830415 w 7447306"/>
              <a:gd name="connsiteY6" fmla="*/ 6673033 h 6715125"/>
              <a:gd name="connsiteX7" fmla="*/ 5389906 w 7447306"/>
              <a:gd name="connsiteY7" fmla="*/ 6638925 h 6715125"/>
              <a:gd name="connsiteX8" fmla="*/ 4951756 w 7447306"/>
              <a:gd name="connsiteY8" fmla="*/ 6473825 h 6715125"/>
              <a:gd name="connsiteX9" fmla="*/ 4275481 w 7447306"/>
              <a:gd name="connsiteY9" fmla="*/ 6137275 h 6715125"/>
              <a:gd name="connsiteX10" fmla="*/ 3929406 w 7447306"/>
              <a:gd name="connsiteY10" fmla="*/ 5807075 h 6715125"/>
              <a:gd name="connsiteX11" fmla="*/ 3592856 w 7447306"/>
              <a:gd name="connsiteY11" fmla="*/ 5597525 h 6715125"/>
              <a:gd name="connsiteX12" fmla="*/ 3475381 w 7447306"/>
              <a:gd name="connsiteY12" fmla="*/ 5156200 h 6715125"/>
              <a:gd name="connsiteX13" fmla="*/ 3349625 w 7447306"/>
              <a:gd name="connsiteY13" fmla="*/ 4660900 h 6715125"/>
              <a:gd name="connsiteX14" fmla="*/ 3342031 w 7447306"/>
              <a:gd name="connsiteY14" fmla="*/ 4365625 h 6715125"/>
              <a:gd name="connsiteX15" fmla="*/ 3443631 w 7447306"/>
              <a:gd name="connsiteY15" fmla="*/ 3870325 h 6715125"/>
              <a:gd name="connsiteX16" fmla="*/ 3643656 w 7447306"/>
              <a:gd name="connsiteY16" fmla="*/ 2698750 h 6715125"/>
              <a:gd name="connsiteX17" fmla="*/ 3392831 w 7447306"/>
              <a:gd name="connsiteY17" fmla="*/ 1289050 h 6715125"/>
              <a:gd name="connsiteX18" fmla="*/ 2948331 w 7447306"/>
              <a:gd name="connsiteY18" fmla="*/ 714375 h 6715125"/>
              <a:gd name="connsiteX19" fmla="*/ 2224431 w 7447306"/>
              <a:gd name="connsiteY19" fmla="*/ 339725 h 6715125"/>
              <a:gd name="connsiteX20" fmla="*/ 1033806 w 7447306"/>
              <a:gd name="connsiteY20" fmla="*/ 92075 h 6715125"/>
              <a:gd name="connsiteX21" fmla="*/ 36856 w 7447306"/>
              <a:gd name="connsiteY21" fmla="*/ 136525 h 6715125"/>
              <a:gd name="connsiteX22" fmla="*/ 0 w 7447306"/>
              <a:gd name="connsiteY22" fmla="*/ 0 h 6715125"/>
              <a:gd name="connsiteX0" fmla="*/ 0 w 7447306"/>
              <a:gd name="connsiteY0" fmla="*/ 0 h 6715125"/>
              <a:gd name="connsiteX1" fmla="*/ 7432792 w 7447306"/>
              <a:gd name="connsiteY1" fmla="*/ 3175 h 6715125"/>
              <a:gd name="connsiteX2" fmla="*/ 7447306 w 7447306"/>
              <a:gd name="connsiteY2" fmla="*/ 6702425 h 6715125"/>
              <a:gd name="connsiteX3" fmla="*/ 6930688 w 7447306"/>
              <a:gd name="connsiteY3" fmla="*/ 6710045 h 6715125"/>
              <a:gd name="connsiteX4" fmla="*/ 6545606 w 7447306"/>
              <a:gd name="connsiteY4" fmla="*/ 6715125 h 6715125"/>
              <a:gd name="connsiteX5" fmla="*/ 6141020 w 7447306"/>
              <a:gd name="connsiteY5" fmla="*/ 6701699 h 6715125"/>
              <a:gd name="connsiteX6" fmla="*/ 5830415 w 7447306"/>
              <a:gd name="connsiteY6" fmla="*/ 6673033 h 6715125"/>
              <a:gd name="connsiteX7" fmla="*/ 5370856 w 7447306"/>
              <a:gd name="connsiteY7" fmla="*/ 6572250 h 6715125"/>
              <a:gd name="connsiteX8" fmla="*/ 4951756 w 7447306"/>
              <a:gd name="connsiteY8" fmla="*/ 6473825 h 6715125"/>
              <a:gd name="connsiteX9" fmla="*/ 4275481 w 7447306"/>
              <a:gd name="connsiteY9" fmla="*/ 6137275 h 6715125"/>
              <a:gd name="connsiteX10" fmla="*/ 3929406 w 7447306"/>
              <a:gd name="connsiteY10" fmla="*/ 5807075 h 6715125"/>
              <a:gd name="connsiteX11" fmla="*/ 3592856 w 7447306"/>
              <a:gd name="connsiteY11" fmla="*/ 5597525 h 6715125"/>
              <a:gd name="connsiteX12" fmla="*/ 3475381 w 7447306"/>
              <a:gd name="connsiteY12" fmla="*/ 5156200 h 6715125"/>
              <a:gd name="connsiteX13" fmla="*/ 3349625 w 7447306"/>
              <a:gd name="connsiteY13" fmla="*/ 4660900 h 6715125"/>
              <a:gd name="connsiteX14" fmla="*/ 3342031 w 7447306"/>
              <a:gd name="connsiteY14" fmla="*/ 4365625 h 6715125"/>
              <a:gd name="connsiteX15" fmla="*/ 3443631 w 7447306"/>
              <a:gd name="connsiteY15" fmla="*/ 3870325 h 6715125"/>
              <a:gd name="connsiteX16" fmla="*/ 3643656 w 7447306"/>
              <a:gd name="connsiteY16" fmla="*/ 2698750 h 6715125"/>
              <a:gd name="connsiteX17" fmla="*/ 3392831 w 7447306"/>
              <a:gd name="connsiteY17" fmla="*/ 1289050 h 6715125"/>
              <a:gd name="connsiteX18" fmla="*/ 2948331 w 7447306"/>
              <a:gd name="connsiteY18" fmla="*/ 714375 h 6715125"/>
              <a:gd name="connsiteX19" fmla="*/ 2224431 w 7447306"/>
              <a:gd name="connsiteY19" fmla="*/ 339725 h 6715125"/>
              <a:gd name="connsiteX20" fmla="*/ 1033806 w 7447306"/>
              <a:gd name="connsiteY20" fmla="*/ 92075 h 6715125"/>
              <a:gd name="connsiteX21" fmla="*/ 36856 w 7447306"/>
              <a:gd name="connsiteY21" fmla="*/ 136525 h 6715125"/>
              <a:gd name="connsiteX22" fmla="*/ 0 w 7447306"/>
              <a:gd name="connsiteY22" fmla="*/ 0 h 6715125"/>
              <a:gd name="connsiteX0" fmla="*/ 0 w 7447306"/>
              <a:gd name="connsiteY0" fmla="*/ 0 h 6715125"/>
              <a:gd name="connsiteX1" fmla="*/ 7432792 w 7447306"/>
              <a:gd name="connsiteY1" fmla="*/ 3175 h 6715125"/>
              <a:gd name="connsiteX2" fmla="*/ 7447306 w 7447306"/>
              <a:gd name="connsiteY2" fmla="*/ 6702425 h 6715125"/>
              <a:gd name="connsiteX3" fmla="*/ 6930688 w 7447306"/>
              <a:gd name="connsiteY3" fmla="*/ 6710045 h 6715125"/>
              <a:gd name="connsiteX4" fmla="*/ 6545606 w 7447306"/>
              <a:gd name="connsiteY4" fmla="*/ 6715125 h 6715125"/>
              <a:gd name="connsiteX5" fmla="*/ 6141020 w 7447306"/>
              <a:gd name="connsiteY5" fmla="*/ 6701699 h 6715125"/>
              <a:gd name="connsiteX6" fmla="*/ 5830415 w 7447306"/>
              <a:gd name="connsiteY6" fmla="*/ 6644458 h 6715125"/>
              <a:gd name="connsiteX7" fmla="*/ 5370856 w 7447306"/>
              <a:gd name="connsiteY7" fmla="*/ 6572250 h 6715125"/>
              <a:gd name="connsiteX8" fmla="*/ 4951756 w 7447306"/>
              <a:gd name="connsiteY8" fmla="*/ 6473825 h 6715125"/>
              <a:gd name="connsiteX9" fmla="*/ 4275481 w 7447306"/>
              <a:gd name="connsiteY9" fmla="*/ 6137275 h 6715125"/>
              <a:gd name="connsiteX10" fmla="*/ 3929406 w 7447306"/>
              <a:gd name="connsiteY10" fmla="*/ 5807075 h 6715125"/>
              <a:gd name="connsiteX11" fmla="*/ 3592856 w 7447306"/>
              <a:gd name="connsiteY11" fmla="*/ 5597525 h 6715125"/>
              <a:gd name="connsiteX12" fmla="*/ 3475381 w 7447306"/>
              <a:gd name="connsiteY12" fmla="*/ 5156200 h 6715125"/>
              <a:gd name="connsiteX13" fmla="*/ 3349625 w 7447306"/>
              <a:gd name="connsiteY13" fmla="*/ 4660900 h 6715125"/>
              <a:gd name="connsiteX14" fmla="*/ 3342031 w 7447306"/>
              <a:gd name="connsiteY14" fmla="*/ 4365625 h 6715125"/>
              <a:gd name="connsiteX15" fmla="*/ 3443631 w 7447306"/>
              <a:gd name="connsiteY15" fmla="*/ 3870325 h 6715125"/>
              <a:gd name="connsiteX16" fmla="*/ 3643656 w 7447306"/>
              <a:gd name="connsiteY16" fmla="*/ 2698750 h 6715125"/>
              <a:gd name="connsiteX17" fmla="*/ 3392831 w 7447306"/>
              <a:gd name="connsiteY17" fmla="*/ 1289050 h 6715125"/>
              <a:gd name="connsiteX18" fmla="*/ 2948331 w 7447306"/>
              <a:gd name="connsiteY18" fmla="*/ 714375 h 6715125"/>
              <a:gd name="connsiteX19" fmla="*/ 2224431 w 7447306"/>
              <a:gd name="connsiteY19" fmla="*/ 339725 h 6715125"/>
              <a:gd name="connsiteX20" fmla="*/ 1033806 w 7447306"/>
              <a:gd name="connsiteY20" fmla="*/ 92075 h 6715125"/>
              <a:gd name="connsiteX21" fmla="*/ 36856 w 7447306"/>
              <a:gd name="connsiteY21" fmla="*/ 136525 h 6715125"/>
              <a:gd name="connsiteX22" fmla="*/ 0 w 7447306"/>
              <a:gd name="connsiteY22" fmla="*/ 0 h 6715125"/>
              <a:gd name="connsiteX0" fmla="*/ 0 w 7447306"/>
              <a:gd name="connsiteY0" fmla="*/ 0 h 6715125"/>
              <a:gd name="connsiteX1" fmla="*/ 7432792 w 7447306"/>
              <a:gd name="connsiteY1" fmla="*/ 3175 h 6715125"/>
              <a:gd name="connsiteX2" fmla="*/ 7447306 w 7447306"/>
              <a:gd name="connsiteY2" fmla="*/ 6702425 h 6715125"/>
              <a:gd name="connsiteX3" fmla="*/ 6930688 w 7447306"/>
              <a:gd name="connsiteY3" fmla="*/ 6710045 h 6715125"/>
              <a:gd name="connsiteX4" fmla="*/ 6545606 w 7447306"/>
              <a:gd name="connsiteY4" fmla="*/ 6715125 h 6715125"/>
              <a:gd name="connsiteX5" fmla="*/ 6083870 w 7447306"/>
              <a:gd name="connsiteY5" fmla="*/ 6682649 h 6715125"/>
              <a:gd name="connsiteX6" fmla="*/ 5830415 w 7447306"/>
              <a:gd name="connsiteY6" fmla="*/ 6644458 h 6715125"/>
              <a:gd name="connsiteX7" fmla="*/ 5370856 w 7447306"/>
              <a:gd name="connsiteY7" fmla="*/ 6572250 h 6715125"/>
              <a:gd name="connsiteX8" fmla="*/ 4951756 w 7447306"/>
              <a:gd name="connsiteY8" fmla="*/ 6473825 h 6715125"/>
              <a:gd name="connsiteX9" fmla="*/ 4275481 w 7447306"/>
              <a:gd name="connsiteY9" fmla="*/ 6137275 h 6715125"/>
              <a:gd name="connsiteX10" fmla="*/ 3929406 w 7447306"/>
              <a:gd name="connsiteY10" fmla="*/ 5807075 h 6715125"/>
              <a:gd name="connsiteX11" fmla="*/ 3592856 w 7447306"/>
              <a:gd name="connsiteY11" fmla="*/ 5597525 h 6715125"/>
              <a:gd name="connsiteX12" fmla="*/ 3475381 w 7447306"/>
              <a:gd name="connsiteY12" fmla="*/ 5156200 h 6715125"/>
              <a:gd name="connsiteX13" fmla="*/ 3349625 w 7447306"/>
              <a:gd name="connsiteY13" fmla="*/ 4660900 h 6715125"/>
              <a:gd name="connsiteX14" fmla="*/ 3342031 w 7447306"/>
              <a:gd name="connsiteY14" fmla="*/ 4365625 h 6715125"/>
              <a:gd name="connsiteX15" fmla="*/ 3443631 w 7447306"/>
              <a:gd name="connsiteY15" fmla="*/ 3870325 h 6715125"/>
              <a:gd name="connsiteX16" fmla="*/ 3643656 w 7447306"/>
              <a:gd name="connsiteY16" fmla="*/ 2698750 h 6715125"/>
              <a:gd name="connsiteX17" fmla="*/ 3392831 w 7447306"/>
              <a:gd name="connsiteY17" fmla="*/ 1289050 h 6715125"/>
              <a:gd name="connsiteX18" fmla="*/ 2948331 w 7447306"/>
              <a:gd name="connsiteY18" fmla="*/ 714375 h 6715125"/>
              <a:gd name="connsiteX19" fmla="*/ 2224431 w 7447306"/>
              <a:gd name="connsiteY19" fmla="*/ 339725 h 6715125"/>
              <a:gd name="connsiteX20" fmla="*/ 1033806 w 7447306"/>
              <a:gd name="connsiteY20" fmla="*/ 92075 h 6715125"/>
              <a:gd name="connsiteX21" fmla="*/ 36856 w 7447306"/>
              <a:gd name="connsiteY21" fmla="*/ 136525 h 6715125"/>
              <a:gd name="connsiteX22" fmla="*/ 0 w 7447306"/>
              <a:gd name="connsiteY22" fmla="*/ 0 h 6715125"/>
              <a:gd name="connsiteX0" fmla="*/ 0 w 7447306"/>
              <a:gd name="connsiteY0" fmla="*/ 0 h 6715125"/>
              <a:gd name="connsiteX1" fmla="*/ 7432792 w 7447306"/>
              <a:gd name="connsiteY1" fmla="*/ 3175 h 6715125"/>
              <a:gd name="connsiteX2" fmla="*/ 7447306 w 7447306"/>
              <a:gd name="connsiteY2" fmla="*/ 6702425 h 6715125"/>
              <a:gd name="connsiteX3" fmla="*/ 6930688 w 7447306"/>
              <a:gd name="connsiteY3" fmla="*/ 6710045 h 6715125"/>
              <a:gd name="connsiteX4" fmla="*/ 6545606 w 7447306"/>
              <a:gd name="connsiteY4" fmla="*/ 6715125 h 6715125"/>
              <a:gd name="connsiteX5" fmla="*/ 6083870 w 7447306"/>
              <a:gd name="connsiteY5" fmla="*/ 6682649 h 6715125"/>
              <a:gd name="connsiteX6" fmla="*/ 5830415 w 7447306"/>
              <a:gd name="connsiteY6" fmla="*/ 6644458 h 6715125"/>
              <a:gd name="connsiteX7" fmla="*/ 5370856 w 7447306"/>
              <a:gd name="connsiteY7" fmla="*/ 6572250 h 6715125"/>
              <a:gd name="connsiteX8" fmla="*/ 4951756 w 7447306"/>
              <a:gd name="connsiteY8" fmla="*/ 6473825 h 6715125"/>
              <a:gd name="connsiteX9" fmla="*/ 4275481 w 7447306"/>
              <a:gd name="connsiteY9" fmla="*/ 6137275 h 6715125"/>
              <a:gd name="connsiteX10" fmla="*/ 3929406 w 7447306"/>
              <a:gd name="connsiteY10" fmla="*/ 5807075 h 6715125"/>
              <a:gd name="connsiteX11" fmla="*/ 3592856 w 7447306"/>
              <a:gd name="connsiteY11" fmla="*/ 5597525 h 6715125"/>
              <a:gd name="connsiteX12" fmla="*/ 3475381 w 7447306"/>
              <a:gd name="connsiteY12" fmla="*/ 5156200 h 6715125"/>
              <a:gd name="connsiteX13" fmla="*/ 3349625 w 7447306"/>
              <a:gd name="connsiteY13" fmla="*/ 4660900 h 6715125"/>
              <a:gd name="connsiteX14" fmla="*/ 3342031 w 7447306"/>
              <a:gd name="connsiteY14" fmla="*/ 4365625 h 6715125"/>
              <a:gd name="connsiteX15" fmla="*/ 3443631 w 7447306"/>
              <a:gd name="connsiteY15" fmla="*/ 3870325 h 6715125"/>
              <a:gd name="connsiteX16" fmla="*/ 3643656 w 7447306"/>
              <a:gd name="connsiteY16" fmla="*/ 2698750 h 6715125"/>
              <a:gd name="connsiteX17" fmla="*/ 3392831 w 7447306"/>
              <a:gd name="connsiteY17" fmla="*/ 1289050 h 6715125"/>
              <a:gd name="connsiteX18" fmla="*/ 2948331 w 7447306"/>
              <a:gd name="connsiteY18" fmla="*/ 714375 h 6715125"/>
              <a:gd name="connsiteX19" fmla="*/ 2224431 w 7447306"/>
              <a:gd name="connsiteY19" fmla="*/ 339725 h 6715125"/>
              <a:gd name="connsiteX20" fmla="*/ 1033806 w 7447306"/>
              <a:gd name="connsiteY20" fmla="*/ 92075 h 6715125"/>
              <a:gd name="connsiteX21" fmla="*/ 36856 w 7447306"/>
              <a:gd name="connsiteY21" fmla="*/ 136525 h 6715125"/>
              <a:gd name="connsiteX22" fmla="*/ 0 w 7447306"/>
              <a:gd name="connsiteY22" fmla="*/ 0 h 6715125"/>
              <a:gd name="connsiteX0" fmla="*/ 0 w 7448032"/>
              <a:gd name="connsiteY0" fmla="*/ 4445 h 6719570"/>
              <a:gd name="connsiteX1" fmla="*/ 7448032 w 7448032"/>
              <a:gd name="connsiteY1" fmla="*/ 0 h 6719570"/>
              <a:gd name="connsiteX2" fmla="*/ 7447306 w 7448032"/>
              <a:gd name="connsiteY2" fmla="*/ 6706870 h 6719570"/>
              <a:gd name="connsiteX3" fmla="*/ 6930688 w 7448032"/>
              <a:gd name="connsiteY3" fmla="*/ 6714490 h 6719570"/>
              <a:gd name="connsiteX4" fmla="*/ 6545606 w 7448032"/>
              <a:gd name="connsiteY4" fmla="*/ 6719570 h 6719570"/>
              <a:gd name="connsiteX5" fmla="*/ 6083870 w 7448032"/>
              <a:gd name="connsiteY5" fmla="*/ 6687094 h 6719570"/>
              <a:gd name="connsiteX6" fmla="*/ 5830415 w 7448032"/>
              <a:gd name="connsiteY6" fmla="*/ 6648903 h 6719570"/>
              <a:gd name="connsiteX7" fmla="*/ 5370856 w 7448032"/>
              <a:gd name="connsiteY7" fmla="*/ 6576695 h 6719570"/>
              <a:gd name="connsiteX8" fmla="*/ 4951756 w 7448032"/>
              <a:gd name="connsiteY8" fmla="*/ 6478270 h 6719570"/>
              <a:gd name="connsiteX9" fmla="*/ 4275481 w 7448032"/>
              <a:gd name="connsiteY9" fmla="*/ 6141720 h 6719570"/>
              <a:gd name="connsiteX10" fmla="*/ 3929406 w 7448032"/>
              <a:gd name="connsiteY10" fmla="*/ 5811520 h 6719570"/>
              <a:gd name="connsiteX11" fmla="*/ 3592856 w 7448032"/>
              <a:gd name="connsiteY11" fmla="*/ 5601970 h 6719570"/>
              <a:gd name="connsiteX12" fmla="*/ 3475381 w 7448032"/>
              <a:gd name="connsiteY12" fmla="*/ 5160645 h 6719570"/>
              <a:gd name="connsiteX13" fmla="*/ 3349625 w 7448032"/>
              <a:gd name="connsiteY13" fmla="*/ 4665345 h 6719570"/>
              <a:gd name="connsiteX14" fmla="*/ 3342031 w 7448032"/>
              <a:gd name="connsiteY14" fmla="*/ 4370070 h 6719570"/>
              <a:gd name="connsiteX15" fmla="*/ 3443631 w 7448032"/>
              <a:gd name="connsiteY15" fmla="*/ 3874770 h 6719570"/>
              <a:gd name="connsiteX16" fmla="*/ 3643656 w 7448032"/>
              <a:gd name="connsiteY16" fmla="*/ 2703195 h 6719570"/>
              <a:gd name="connsiteX17" fmla="*/ 3392831 w 7448032"/>
              <a:gd name="connsiteY17" fmla="*/ 1293495 h 6719570"/>
              <a:gd name="connsiteX18" fmla="*/ 2948331 w 7448032"/>
              <a:gd name="connsiteY18" fmla="*/ 718820 h 6719570"/>
              <a:gd name="connsiteX19" fmla="*/ 2224431 w 7448032"/>
              <a:gd name="connsiteY19" fmla="*/ 344170 h 6719570"/>
              <a:gd name="connsiteX20" fmla="*/ 1033806 w 7448032"/>
              <a:gd name="connsiteY20" fmla="*/ 96520 h 6719570"/>
              <a:gd name="connsiteX21" fmla="*/ 36856 w 7448032"/>
              <a:gd name="connsiteY21" fmla="*/ 140970 h 6719570"/>
              <a:gd name="connsiteX22" fmla="*/ 0 w 7448032"/>
              <a:gd name="connsiteY22" fmla="*/ 4445 h 6719570"/>
              <a:gd name="connsiteX0" fmla="*/ 0 w 7447306"/>
              <a:gd name="connsiteY0" fmla="*/ 0 h 6715125"/>
              <a:gd name="connsiteX1" fmla="*/ 7440412 w 7447306"/>
              <a:gd name="connsiteY1" fmla="*/ 3175 h 6715125"/>
              <a:gd name="connsiteX2" fmla="*/ 7447306 w 7447306"/>
              <a:gd name="connsiteY2" fmla="*/ 6702425 h 6715125"/>
              <a:gd name="connsiteX3" fmla="*/ 6930688 w 7447306"/>
              <a:gd name="connsiteY3" fmla="*/ 6710045 h 6715125"/>
              <a:gd name="connsiteX4" fmla="*/ 6545606 w 7447306"/>
              <a:gd name="connsiteY4" fmla="*/ 6715125 h 6715125"/>
              <a:gd name="connsiteX5" fmla="*/ 6083870 w 7447306"/>
              <a:gd name="connsiteY5" fmla="*/ 6682649 h 6715125"/>
              <a:gd name="connsiteX6" fmla="*/ 5830415 w 7447306"/>
              <a:gd name="connsiteY6" fmla="*/ 6644458 h 6715125"/>
              <a:gd name="connsiteX7" fmla="*/ 5370856 w 7447306"/>
              <a:gd name="connsiteY7" fmla="*/ 6572250 h 6715125"/>
              <a:gd name="connsiteX8" fmla="*/ 4951756 w 7447306"/>
              <a:gd name="connsiteY8" fmla="*/ 6473825 h 6715125"/>
              <a:gd name="connsiteX9" fmla="*/ 4275481 w 7447306"/>
              <a:gd name="connsiteY9" fmla="*/ 6137275 h 6715125"/>
              <a:gd name="connsiteX10" fmla="*/ 3929406 w 7447306"/>
              <a:gd name="connsiteY10" fmla="*/ 5807075 h 6715125"/>
              <a:gd name="connsiteX11" fmla="*/ 3592856 w 7447306"/>
              <a:gd name="connsiteY11" fmla="*/ 5597525 h 6715125"/>
              <a:gd name="connsiteX12" fmla="*/ 3475381 w 7447306"/>
              <a:gd name="connsiteY12" fmla="*/ 5156200 h 6715125"/>
              <a:gd name="connsiteX13" fmla="*/ 3349625 w 7447306"/>
              <a:gd name="connsiteY13" fmla="*/ 4660900 h 6715125"/>
              <a:gd name="connsiteX14" fmla="*/ 3342031 w 7447306"/>
              <a:gd name="connsiteY14" fmla="*/ 4365625 h 6715125"/>
              <a:gd name="connsiteX15" fmla="*/ 3443631 w 7447306"/>
              <a:gd name="connsiteY15" fmla="*/ 3870325 h 6715125"/>
              <a:gd name="connsiteX16" fmla="*/ 3643656 w 7447306"/>
              <a:gd name="connsiteY16" fmla="*/ 2698750 h 6715125"/>
              <a:gd name="connsiteX17" fmla="*/ 3392831 w 7447306"/>
              <a:gd name="connsiteY17" fmla="*/ 1289050 h 6715125"/>
              <a:gd name="connsiteX18" fmla="*/ 2948331 w 7447306"/>
              <a:gd name="connsiteY18" fmla="*/ 714375 h 6715125"/>
              <a:gd name="connsiteX19" fmla="*/ 2224431 w 7447306"/>
              <a:gd name="connsiteY19" fmla="*/ 339725 h 6715125"/>
              <a:gd name="connsiteX20" fmla="*/ 1033806 w 7447306"/>
              <a:gd name="connsiteY20" fmla="*/ 92075 h 6715125"/>
              <a:gd name="connsiteX21" fmla="*/ 36856 w 7447306"/>
              <a:gd name="connsiteY21" fmla="*/ 136525 h 6715125"/>
              <a:gd name="connsiteX22" fmla="*/ 0 w 7447306"/>
              <a:gd name="connsiteY22" fmla="*/ 0 h 6715125"/>
              <a:gd name="connsiteX0" fmla="*/ 0 w 7447306"/>
              <a:gd name="connsiteY0" fmla="*/ 0 h 6715125"/>
              <a:gd name="connsiteX1" fmla="*/ 7440412 w 7447306"/>
              <a:gd name="connsiteY1" fmla="*/ 3175 h 6715125"/>
              <a:gd name="connsiteX2" fmla="*/ 7447306 w 7447306"/>
              <a:gd name="connsiteY2" fmla="*/ 6702425 h 6715125"/>
              <a:gd name="connsiteX3" fmla="*/ 6930688 w 7447306"/>
              <a:gd name="connsiteY3" fmla="*/ 6710045 h 6715125"/>
              <a:gd name="connsiteX4" fmla="*/ 6545606 w 7447306"/>
              <a:gd name="connsiteY4" fmla="*/ 6715125 h 6715125"/>
              <a:gd name="connsiteX5" fmla="*/ 6083870 w 7447306"/>
              <a:gd name="connsiteY5" fmla="*/ 6682649 h 6715125"/>
              <a:gd name="connsiteX6" fmla="*/ 5830415 w 7447306"/>
              <a:gd name="connsiteY6" fmla="*/ 6644458 h 6715125"/>
              <a:gd name="connsiteX7" fmla="*/ 5370856 w 7447306"/>
              <a:gd name="connsiteY7" fmla="*/ 6572250 h 6715125"/>
              <a:gd name="connsiteX8" fmla="*/ 4951756 w 7447306"/>
              <a:gd name="connsiteY8" fmla="*/ 6473825 h 6715125"/>
              <a:gd name="connsiteX9" fmla="*/ 4275481 w 7447306"/>
              <a:gd name="connsiteY9" fmla="*/ 6137275 h 6715125"/>
              <a:gd name="connsiteX10" fmla="*/ 3929406 w 7447306"/>
              <a:gd name="connsiteY10" fmla="*/ 5807075 h 6715125"/>
              <a:gd name="connsiteX11" fmla="*/ 3592856 w 7447306"/>
              <a:gd name="connsiteY11" fmla="*/ 5597525 h 6715125"/>
              <a:gd name="connsiteX12" fmla="*/ 3475381 w 7447306"/>
              <a:gd name="connsiteY12" fmla="*/ 5156200 h 6715125"/>
              <a:gd name="connsiteX13" fmla="*/ 3349625 w 7447306"/>
              <a:gd name="connsiteY13" fmla="*/ 4660900 h 6715125"/>
              <a:gd name="connsiteX14" fmla="*/ 3342031 w 7447306"/>
              <a:gd name="connsiteY14" fmla="*/ 4365625 h 6715125"/>
              <a:gd name="connsiteX15" fmla="*/ 3443631 w 7447306"/>
              <a:gd name="connsiteY15" fmla="*/ 3870325 h 6715125"/>
              <a:gd name="connsiteX16" fmla="*/ 3643656 w 7447306"/>
              <a:gd name="connsiteY16" fmla="*/ 2698750 h 6715125"/>
              <a:gd name="connsiteX17" fmla="*/ 3392831 w 7447306"/>
              <a:gd name="connsiteY17" fmla="*/ 1289050 h 6715125"/>
              <a:gd name="connsiteX18" fmla="*/ 2948331 w 7447306"/>
              <a:gd name="connsiteY18" fmla="*/ 714375 h 6715125"/>
              <a:gd name="connsiteX19" fmla="*/ 2224431 w 7447306"/>
              <a:gd name="connsiteY19" fmla="*/ 339725 h 6715125"/>
              <a:gd name="connsiteX20" fmla="*/ 1033806 w 7447306"/>
              <a:gd name="connsiteY20" fmla="*/ 92075 h 6715125"/>
              <a:gd name="connsiteX21" fmla="*/ 463576 w 7447306"/>
              <a:gd name="connsiteY21" fmla="*/ 83185 h 6715125"/>
              <a:gd name="connsiteX22" fmla="*/ 0 w 7447306"/>
              <a:gd name="connsiteY22" fmla="*/ 0 h 6715125"/>
              <a:gd name="connsiteX0" fmla="*/ 176504 w 6983730"/>
              <a:gd name="connsiteY0" fmla="*/ 0 h 6722745"/>
              <a:gd name="connsiteX1" fmla="*/ 6976836 w 6983730"/>
              <a:gd name="connsiteY1" fmla="*/ 10795 h 6722745"/>
              <a:gd name="connsiteX2" fmla="*/ 6983730 w 6983730"/>
              <a:gd name="connsiteY2" fmla="*/ 6710045 h 6722745"/>
              <a:gd name="connsiteX3" fmla="*/ 6467112 w 6983730"/>
              <a:gd name="connsiteY3" fmla="*/ 6717665 h 6722745"/>
              <a:gd name="connsiteX4" fmla="*/ 6082030 w 6983730"/>
              <a:gd name="connsiteY4" fmla="*/ 6722745 h 6722745"/>
              <a:gd name="connsiteX5" fmla="*/ 5620294 w 6983730"/>
              <a:gd name="connsiteY5" fmla="*/ 6690269 h 6722745"/>
              <a:gd name="connsiteX6" fmla="*/ 5366839 w 6983730"/>
              <a:gd name="connsiteY6" fmla="*/ 6652078 h 6722745"/>
              <a:gd name="connsiteX7" fmla="*/ 4907280 w 6983730"/>
              <a:gd name="connsiteY7" fmla="*/ 6579870 h 6722745"/>
              <a:gd name="connsiteX8" fmla="*/ 4488180 w 6983730"/>
              <a:gd name="connsiteY8" fmla="*/ 6481445 h 6722745"/>
              <a:gd name="connsiteX9" fmla="*/ 3811905 w 6983730"/>
              <a:gd name="connsiteY9" fmla="*/ 6144895 h 6722745"/>
              <a:gd name="connsiteX10" fmla="*/ 3465830 w 6983730"/>
              <a:gd name="connsiteY10" fmla="*/ 5814695 h 6722745"/>
              <a:gd name="connsiteX11" fmla="*/ 3129280 w 6983730"/>
              <a:gd name="connsiteY11" fmla="*/ 5605145 h 6722745"/>
              <a:gd name="connsiteX12" fmla="*/ 3011805 w 6983730"/>
              <a:gd name="connsiteY12" fmla="*/ 5163820 h 6722745"/>
              <a:gd name="connsiteX13" fmla="*/ 2886049 w 6983730"/>
              <a:gd name="connsiteY13" fmla="*/ 4668520 h 6722745"/>
              <a:gd name="connsiteX14" fmla="*/ 2878455 w 6983730"/>
              <a:gd name="connsiteY14" fmla="*/ 4373245 h 6722745"/>
              <a:gd name="connsiteX15" fmla="*/ 2980055 w 6983730"/>
              <a:gd name="connsiteY15" fmla="*/ 3877945 h 6722745"/>
              <a:gd name="connsiteX16" fmla="*/ 3180080 w 6983730"/>
              <a:gd name="connsiteY16" fmla="*/ 2706370 h 6722745"/>
              <a:gd name="connsiteX17" fmla="*/ 2929255 w 6983730"/>
              <a:gd name="connsiteY17" fmla="*/ 1296670 h 6722745"/>
              <a:gd name="connsiteX18" fmla="*/ 2484755 w 6983730"/>
              <a:gd name="connsiteY18" fmla="*/ 721995 h 6722745"/>
              <a:gd name="connsiteX19" fmla="*/ 1760855 w 6983730"/>
              <a:gd name="connsiteY19" fmla="*/ 347345 h 6722745"/>
              <a:gd name="connsiteX20" fmla="*/ 570230 w 6983730"/>
              <a:gd name="connsiteY20" fmla="*/ 99695 h 6722745"/>
              <a:gd name="connsiteX21" fmla="*/ 0 w 6983730"/>
              <a:gd name="connsiteY21" fmla="*/ 90805 h 6722745"/>
              <a:gd name="connsiteX22" fmla="*/ 176504 w 6983730"/>
              <a:gd name="connsiteY22" fmla="*/ 0 h 6722745"/>
              <a:gd name="connsiteX0" fmla="*/ 54584 w 6861810"/>
              <a:gd name="connsiteY0" fmla="*/ 0 h 6722745"/>
              <a:gd name="connsiteX1" fmla="*/ 6854916 w 6861810"/>
              <a:gd name="connsiteY1" fmla="*/ 10795 h 6722745"/>
              <a:gd name="connsiteX2" fmla="*/ 6861810 w 6861810"/>
              <a:gd name="connsiteY2" fmla="*/ 6710045 h 6722745"/>
              <a:gd name="connsiteX3" fmla="*/ 6345192 w 6861810"/>
              <a:gd name="connsiteY3" fmla="*/ 6717665 h 6722745"/>
              <a:gd name="connsiteX4" fmla="*/ 5960110 w 6861810"/>
              <a:gd name="connsiteY4" fmla="*/ 6722745 h 6722745"/>
              <a:gd name="connsiteX5" fmla="*/ 5498374 w 6861810"/>
              <a:gd name="connsiteY5" fmla="*/ 6690269 h 6722745"/>
              <a:gd name="connsiteX6" fmla="*/ 5244919 w 6861810"/>
              <a:gd name="connsiteY6" fmla="*/ 6652078 h 6722745"/>
              <a:gd name="connsiteX7" fmla="*/ 4785360 w 6861810"/>
              <a:gd name="connsiteY7" fmla="*/ 6579870 h 6722745"/>
              <a:gd name="connsiteX8" fmla="*/ 4366260 w 6861810"/>
              <a:gd name="connsiteY8" fmla="*/ 6481445 h 6722745"/>
              <a:gd name="connsiteX9" fmla="*/ 3689985 w 6861810"/>
              <a:gd name="connsiteY9" fmla="*/ 6144895 h 6722745"/>
              <a:gd name="connsiteX10" fmla="*/ 3343910 w 6861810"/>
              <a:gd name="connsiteY10" fmla="*/ 5814695 h 6722745"/>
              <a:gd name="connsiteX11" fmla="*/ 3007360 w 6861810"/>
              <a:gd name="connsiteY11" fmla="*/ 5605145 h 6722745"/>
              <a:gd name="connsiteX12" fmla="*/ 2889885 w 6861810"/>
              <a:gd name="connsiteY12" fmla="*/ 5163820 h 6722745"/>
              <a:gd name="connsiteX13" fmla="*/ 2764129 w 6861810"/>
              <a:gd name="connsiteY13" fmla="*/ 4668520 h 6722745"/>
              <a:gd name="connsiteX14" fmla="*/ 2756535 w 6861810"/>
              <a:gd name="connsiteY14" fmla="*/ 4373245 h 6722745"/>
              <a:gd name="connsiteX15" fmla="*/ 2858135 w 6861810"/>
              <a:gd name="connsiteY15" fmla="*/ 3877945 h 6722745"/>
              <a:gd name="connsiteX16" fmla="*/ 3058160 w 6861810"/>
              <a:gd name="connsiteY16" fmla="*/ 2706370 h 6722745"/>
              <a:gd name="connsiteX17" fmla="*/ 2807335 w 6861810"/>
              <a:gd name="connsiteY17" fmla="*/ 1296670 h 6722745"/>
              <a:gd name="connsiteX18" fmla="*/ 2362835 w 6861810"/>
              <a:gd name="connsiteY18" fmla="*/ 721995 h 6722745"/>
              <a:gd name="connsiteX19" fmla="*/ 1638935 w 6861810"/>
              <a:gd name="connsiteY19" fmla="*/ 347345 h 6722745"/>
              <a:gd name="connsiteX20" fmla="*/ 448310 w 6861810"/>
              <a:gd name="connsiteY20" fmla="*/ 99695 h 6722745"/>
              <a:gd name="connsiteX21" fmla="*/ 0 w 6861810"/>
              <a:gd name="connsiteY21" fmla="*/ 67945 h 6722745"/>
              <a:gd name="connsiteX22" fmla="*/ 54584 w 6861810"/>
              <a:gd name="connsiteY22" fmla="*/ 0 h 6722745"/>
              <a:gd name="connsiteX0" fmla="*/ 107924 w 6861810"/>
              <a:gd name="connsiteY0" fmla="*/ 0 h 6715125"/>
              <a:gd name="connsiteX1" fmla="*/ 6854916 w 6861810"/>
              <a:gd name="connsiteY1" fmla="*/ 3175 h 6715125"/>
              <a:gd name="connsiteX2" fmla="*/ 6861810 w 6861810"/>
              <a:gd name="connsiteY2" fmla="*/ 6702425 h 6715125"/>
              <a:gd name="connsiteX3" fmla="*/ 6345192 w 6861810"/>
              <a:gd name="connsiteY3" fmla="*/ 6710045 h 6715125"/>
              <a:gd name="connsiteX4" fmla="*/ 5960110 w 6861810"/>
              <a:gd name="connsiteY4" fmla="*/ 6715125 h 6715125"/>
              <a:gd name="connsiteX5" fmla="*/ 5498374 w 6861810"/>
              <a:gd name="connsiteY5" fmla="*/ 6682649 h 6715125"/>
              <a:gd name="connsiteX6" fmla="*/ 5244919 w 6861810"/>
              <a:gd name="connsiteY6" fmla="*/ 6644458 h 6715125"/>
              <a:gd name="connsiteX7" fmla="*/ 4785360 w 6861810"/>
              <a:gd name="connsiteY7" fmla="*/ 6572250 h 6715125"/>
              <a:gd name="connsiteX8" fmla="*/ 4366260 w 6861810"/>
              <a:gd name="connsiteY8" fmla="*/ 6473825 h 6715125"/>
              <a:gd name="connsiteX9" fmla="*/ 3689985 w 6861810"/>
              <a:gd name="connsiteY9" fmla="*/ 6137275 h 6715125"/>
              <a:gd name="connsiteX10" fmla="*/ 3343910 w 6861810"/>
              <a:gd name="connsiteY10" fmla="*/ 5807075 h 6715125"/>
              <a:gd name="connsiteX11" fmla="*/ 3007360 w 6861810"/>
              <a:gd name="connsiteY11" fmla="*/ 5597525 h 6715125"/>
              <a:gd name="connsiteX12" fmla="*/ 2889885 w 6861810"/>
              <a:gd name="connsiteY12" fmla="*/ 5156200 h 6715125"/>
              <a:gd name="connsiteX13" fmla="*/ 2764129 w 6861810"/>
              <a:gd name="connsiteY13" fmla="*/ 4660900 h 6715125"/>
              <a:gd name="connsiteX14" fmla="*/ 2756535 w 6861810"/>
              <a:gd name="connsiteY14" fmla="*/ 4365625 h 6715125"/>
              <a:gd name="connsiteX15" fmla="*/ 2858135 w 6861810"/>
              <a:gd name="connsiteY15" fmla="*/ 3870325 h 6715125"/>
              <a:gd name="connsiteX16" fmla="*/ 3058160 w 6861810"/>
              <a:gd name="connsiteY16" fmla="*/ 2698750 h 6715125"/>
              <a:gd name="connsiteX17" fmla="*/ 2807335 w 6861810"/>
              <a:gd name="connsiteY17" fmla="*/ 1289050 h 6715125"/>
              <a:gd name="connsiteX18" fmla="*/ 2362835 w 6861810"/>
              <a:gd name="connsiteY18" fmla="*/ 714375 h 6715125"/>
              <a:gd name="connsiteX19" fmla="*/ 1638935 w 6861810"/>
              <a:gd name="connsiteY19" fmla="*/ 339725 h 6715125"/>
              <a:gd name="connsiteX20" fmla="*/ 448310 w 6861810"/>
              <a:gd name="connsiteY20" fmla="*/ 92075 h 6715125"/>
              <a:gd name="connsiteX21" fmla="*/ 0 w 6861810"/>
              <a:gd name="connsiteY21" fmla="*/ 60325 h 6715125"/>
              <a:gd name="connsiteX22" fmla="*/ 107924 w 6861810"/>
              <a:gd name="connsiteY22" fmla="*/ 0 h 6715125"/>
              <a:gd name="connsiteX0" fmla="*/ 214604 w 6968490"/>
              <a:gd name="connsiteY0" fmla="*/ 0 h 6715125"/>
              <a:gd name="connsiteX1" fmla="*/ 6961596 w 6968490"/>
              <a:gd name="connsiteY1" fmla="*/ 3175 h 6715125"/>
              <a:gd name="connsiteX2" fmla="*/ 6968490 w 6968490"/>
              <a:gd name="connsiteY2" fmla="*/ 6702425 h 6715125"/>
              <a:gd name="connsiteX3" fmla="*/ 6451872 w 6968490"/>
              <a:gd name="connsiteY3" fmla="*/ 6710045 h 6715125"/>
              <a:gd name="connsiteX4" fmla="*/ 6066790 w 6968490"/>
              <a:gd name="connsiteY4" fmla="*/ 6715125 h 6715125"/>
              <a:gd name="connsiteX5" fmla="*/ 5605054 w 6968490"/>
              <a:gd name="connsiteY5" fmla="*/ 6682649 h 6715125"/>
              <a:gd name="connsiteX6" fmla="*/ 5351599 w 6968490"/>
              <a:gd name="connsiteY6" fmla="*/ 6644458 h 6715125"/>
              <a:gd name="connsiteX7" fmla="*/ 4892040 w 6968490"/>
              <a:gd name="connsiteY7" fmla="*/ 6572250 h 6715125"/>
              <a:gd name="connsiteX8" fmla="*/ 4472940 w 6968490"/>
              <a:gd name="connsiteY8" fmla="*/ 6473825 h 6715125"/>
              <a:gd name="connsiteX9" fmla="*/ 3796665 w 6968490"/>
              <a:gd name="connsiteY9" fmla="*/ 6137275 h 6715125"/>
              <a:gd name="connsiteX10" fmla="*/ 3450590 w 6968490"/>
              <a:gd name="connsiteY10" fmla="*/ 5807075 h 6715125"/>
              <a:gd name="connsiteX11" fmla="*/ 3114040 w 6968490"/>
              <a:gd name="connsiteY11" fmla="*/ 5597525 h 6715125"/>
              <a:gd name="connsiteX12" fmla="*/ 2996565 w 6968490"/>
              <a:gd name="connsiteY12" fmla="*/ 5156200 h 6715125"/>
              <a:gd name="connsiteX13" fmla="*/ 2870809 w 6968490"/>
              <a:gd name="connsiteY13" fmla="*/ 4660900 h 6715125"/>
              <a:gd name="connsiteX14" fmla="*/ 2863215 w 6968490"/>
              <a:gd name="connsiteY14" fmla="*/ 4365625 h 6715125"/>
              <a:gd name="connsiteX15" fmla="*/ 2964815 w 6968490"/>
              <a:gd name="connsiteY15" fmla="*/ 3870325 h 6715125"/>
              <a:gd name="connsiteX16" fmla="*/ 3164840 w 6968490"/>
              <a:gd name="connsiteY16" fmla="*/ 2698750 h 6715125"/>
              <a:gd name="connsiteX17" fmla="*/ 2914015 w 6968490"/>
              <a:gd name="connsiteY17" fmla="*/ 1289050 h 6715125"/>
              <a:gd name="connsiteX18" fmla="*/ 2469515 w 6968490"/>
              <a:gd name="connsiteY18" fmla="*/ 714375 h 6715125"/>
              <a:gd name="connsiteX19" fmla="*/ 1745615 w 6968490"/>
              <a:gd name="connsiteY19" fmla="*/ 339725 h 6715125"/>
              <a:gd name="connsiteX20" fmla="*/ 554990 w 6968490"/>
              <a:gd name="connsiteY20" fmla="*/ 92075 h 6715125"/>
              <a:gd name="connsiteX21" fmla="*/ 0 w 6968490"/>
              <a:gd name="connsiteY21" fmla="*/ 45085 h 6715125"/>
              <a:gd name="connsiteX22" fmla="*/ 214604 w 6968490"/>
              <a:gd name="connsiteY22" fmla="*/ 0 h 6715125"/>
              <a:gd name="connsiteX0" fmla="*/ 214604 w 6968490"/>
              <a:gd name="connsiteY0" fmla="*/ 0 h 6715125"/>
              <a:gd name="connsiteX1" fmla="*/ 6961596 w 6968490"/>
              <a:gd name="connsiteY1" fmla="*/ 3175 h 6715125"/>
              <a:gd name="connsiteX2" fmla="*/ 6968490 w 6968490"/>
              <a:gd name="connsiteY2" fmla="*/ 6702425 h 6715125"/>
              <a:gd name="connsiteX3" fmla="*/ 6451872 w 6968490"/>
              <a:gd name="connsiteY3" fmla="*/ 6710045 h 6715125"/>
              <a:gd name="connsiteX4" fmla="*/ 6066790 w 6968490"/>
              <a:gd name="connsiteY4" fmla="*/ 6715125 h 6715125"/>
              <a:gd name="connsiteX5" fmla="*/ 5605054 w 6968490"/>
              <a:gd name="connsiteY5" fmla="*/ 6682649 h 6715125"/>
              <a:gd name="connsiteX6" fmla="*/ 5351599 w 6968490"/>
              <a:gd name="connsiteY6" fmla="*/ 6644458 h 6715125"/>
              <a:gd name="connsiteX7" fmla="*/ 4892040 w 6968490"/>
              <a:gd name="connsiteY7" fmla="*/ 6572250 h 6715125"/>
              <a:gd name="connsiteX8" fmla="*/ 4472940 w 6968490"/>
              <a:gd name="connsiteY8" fmla="*/ 6473825 h 6715125"/>
              <a:gd name="connsiteX9" fmla="*/ 3796665 w 6968490"/>
              <a:gd name="connsiteY9" fmla="*/ 6137275 h 6715125"/>
              <a:gd name="connsiteX10" fmla="*/ 3450590 w 6968490"/>
              <a:gd name="connsiteY10" fmla="*/ 5807075 h 6715125"/>
              <a:gd name="connsiteX11" fmla="*/ 3114040 w 6968490"/>
              <a:gd name="connsiteY11" fmla="*/ 5597525 h 6715125"/>
              <a:gd name="connsiteX12" fmla="*/ 2996565 w 6968490"/>
              <a:gd name="connsiteY12" fmla="*/ 5156200 h 6715125"/>
              <a:gd name="connsiteX13" fmla="*/ 2870809 w 6968490"/>
              <a:gd name="connsiteY13" fmla="*/ 4660900 h 6715125"/>
              <a:gd name="connsiteX14" fmla="*/ 2863215 w 6968490"/>
              <a:gd name="connsiteY14" fmla="*/ 4365625 h 6715125"/>
              <a:gd name="connsiteX15" fmla="*/ 2964815 w 6968490"/>
              <a:gd name="connsiteY15" fmla="*/ 3870325 h 6715125"/>
              <a:gd name="connsiteX16" fmla="*/ 3164840 w 6968490"/>
              <a:gd name="connsiteY16" fmla="*/ 2698750 h 6715125"/>
              <a:gd name="connsiteX17" fmla="*/ 2914015 w 6968490"/>
              <a:gd name="connsiteY17" fmla="*/ 1289050 h 6715125"/>
              <a:gd name="connsiteX18" fmla="*/ 2446655 w 6968490"/>
              <a:gd name="connsiteY18" fmla="*/ 782955 h 6715125"/>
              <a:gd name="connsiteX19" fmla="*/ 1745615 w 6968490"/>
              <a:gd name="connsiteY19" fmla="*/ 339725 h 6715125"/>
              <a:gd name="connsiteX20" fmla="*/ 554990 w 6968490"/>
              <a:gd name="connsiteY20" fmla="*/ 92075 h 6715125"/>
              <a:gd name="connsiteX21" fmla="*/ 0 w 6968490"/>
              <a:gd name="connsiteY21" fmla="*/ 45085 h 6715125"/>
              <a:gd name="connsiteX22" fmla="*/ 214604 w 6968490"/>
              <a:gd name="connsiteY22" fmla="*/ 0 h 6715125"/>
              <a:gd name="connsiteX0" fmla="*/ 214604 w 6968490"/>
              <a:gd name="connsiteY0" fmla="*/ 0 h 6715125"/>
              <a:gd name="connsiteX1" fmla="*/ 6961596 w 6968490"/>
              <a:gd name="connsiteY1" fmla="*/ 3175 h 6715125"/>
              <a:gd name="connsiteX2" fmla="*/ 6968490 w 6968490"/>
              <a:gd name="connsiteY2" fmla="*/ 6702425 h 6715125"/>
              <a:gd name="connsiteX3" fmla="*/ 6451872 w 6968490"/>
              <a:gd name="connsiteY3" fmla="*/ 6710045 h 6715125"/>
              <a:gd name="connsiteX4" fmla="*/ 6066790 w 6968490"/>
              <a:gd name="connsiteY4" fmla="*/ 6715125 h 6715125"/>
              <a:gd name="connsiteX5" fmla="*/ 5605054 w 6968490"/>
              <a:gd name="connsiteY5" fmla="*/ 6682649 h 6715125"/>
              <a:gd name="connsiteX6" fmla="*/ 5351599 w 6968490"/>
              <a:gd name="connsiteY6" fmla="*/ 6644458 h 6715125"/>
              <a:gd name="connsiteX7" fmla="*/ 4892040 w 6968490"/>
              <a:gd name="connsiteY7" fmla="*/ 6572250 h 6715125"/>
              <a:gd name="connsiteX8" fmla="*/ 4472940 w 6968490"/>
              <a:gd name="connsiteY8" fmla="*/ 6473825 h 6715125"/>
              <a:gd name="connsiteX9" fmla="*/ 3796665 w 6968490"/>
              <a:gd name="connsiteY9" fmla="*/ 6137275 h 6715125"/>
              <a:gd name="connsiteX10" fmla="*/ 3450590 w 6968490"/>
              <a:gd name="connsiteY10" fmla="*/ 5807075 h 6715125"/>
              <a:gd name="connsiteX11" fmla="*/ 3114040 w 6968490"/>
              <a:gd name="connsiteY11" fmla="*/ 5597525 h 6715125"/>
              <a:gd name="connsiteX12" fmla="*/ 2996565 w 6968490"/>
              <a:gd name="connsiteY12" fmla="*/ 5156200 h 6715125"/>
              <a:gd name="connsiteX13" fmla="*/ 2870809 w 6968490"/>
              <a:gd name="connsiteY13" fmla="*/ 4660900 h 6715125"/>
              <a:gd name="connsiteX14" fmla="*/ 2863215 w 6968490"/>
              <a:gd name="connsiteY14" fmla="*/ 4365625 h 6715125"/>
              <a:gd name="connsiteX15" fmla="*/ 2964815 w 6968490"/>
              <a:gd name="connsiteY15" fmla="*/ 3870325 h 6715125"/>
              <a:gd name="connsiteX16" fmla="*/ 3164840 w 6968490"/>
              <a:gd name="connsiteY16" fmla="*/ 2698750 h 6715125"/>
              <a:gd name="connsiteX17" fmla="*/ 2860675 w 6968490"/>
              <a:gd name="connsiteY17" fmla="*/ 1342390 h 6715125"/>
              <a:gd name="connsiteX18" fmla="*/ 2446655 w 6968490"/>
              <a:gd name="connsiteY18" fmla="*/ 782955 h 6715125"/>
              <a:gd name="connsiteX19" fmla="*/ 1745615 w 6968490"/>
              <a:gd name="connsiteY19" fmla="*/ 339725 h 6715125"/>
              <a:gd name="connsiteX20" fmla="*/ 554990 w 6968490"/>
              <a:gd name="connsiteY20" fmla="*/ 92075 h 6715125"/>
              <a:gd name="connsiteX21" fmla="*/ 0 w 6968490"/>
              <a:gd name="connsiteY21" fmla="*/ 45085 h 6715125"/>
              <a:gd name="connsiteX22" fmla="*/ 214604 w 6968490"/>
              <a:gd name="connsiteY22" fmla="*/ 0 h 6715125"/>
              <a:gd name="connsiteX0" fmla="*/ 214604 w 6968490"/>
              <a:gd name="connsiteY0" fmla="*/ 0 h 6715125"/>
              <a:gd name="connsiteX1" fmla="*/ 6961596 w 6968490"/>
              <a:gd name="connsiteY1" fmla="*/ 3175 h 6715125"/>
              <a:gd name="connsiteX2" fmla="*/ 6968490 w 6968490"/>
              <a:gd name="connsiteY2" fmla="*/ 6702425 h 6715125"/>
              <a:gd name="connsiteX3" fmla="*/ 6451872 w 6968490"/>
              <a:gd name="connsiteY3" fmla="*/ 6710045 h 6715125"/>
              <a:gd name="connsiteX4" fmla="*/ 6066790 w 6968490"/>
              <a:gd name="connsiteY4" fmla="*/ 6715125 h 6715125"/>
              <a:gd name="connsiteX5" fmla="*/ 5605054 w 6968490"/>
              <a:gd name="connsiteY5" fmla="*/ 6682649 h 6715125"/>
              <a:gd name="connsiteX6" fmla="*/ 5351599 w 6968490"/>
              <a:gd name="connsiteY6" fmla="*/ 6644458 h 6715125"/>
              <a:gd name="connsiteX7" fmla="*/ 4892040 w 6968490"/>
              <a:gd name="connsiteY7" fmla="*/ 6572250 h 6715125"/>
              <a:gd name="connsiteX8" fmla="*/ 4472940 w 6968490"/>
              <a:gd name="connsiteY8" fmla="*/ 6473825 h 6715125"/>
              <a:gd name="connsiteX9" fmla="*/ 3796665 w 6968490"/>
              <a:gd name="connsiteY9" fmla="*/ 6137275 h 6715125"/>
              <a:gd name="connsiteX10" fmla="*/ 3450590 w 6968490"/>
              <a:gd name="connsiteY10" fmla="*/ 5807075 h 6715125"/>
              <a:gd name="connsiteX11" fmla="*/ 3114040 w 6968490"/>
              <a:gd name="connsiteY11" fmla="*/ 5597525 h 6715125"/>
              <a:gd name="connsiteX12" fmla="*/ 2996565 w 6968490"/>
              <a:gd name="connsiteY12" fmla="*/ 5156200 h 6715125"/>
              <a:gd name="connsiteX13" fmla="*/ 2870809 w 6968490"/>
              <a:gd name="connsiteY13" fmla="*/ 4660900 h 6715125"/>
              <a:gd name="connsiteX14" fmla="*/ 2863215 w 6968490"/>
              <a:gd name="connsiteY14" fmla="*/ 4365625 h 6715125"/>
              <a:gd name="connsiteX15" fmla="*/ 2964815 w 6968490"/>
              <a:gd name="connsiteY15" fmla="*/ 3870325 h 6715125"/>
              <a:gd name="connsiteX16" fmla="*/ 3096260 w 6968490"/>
              <a:gd name="connsiteY16" fmla="*/ 2698750 h 6715125"/>
              <a:gd name="connsiteX17" fmla="*/ 2860675 w 6968490"/>
              <a:gd name="connsiteY17" fmla="*/ 1342390 h 6715125"/>
              <a:gd name="connsiteX18" fmla="*/ 2446655 w 6968490"/>
              <a:gd name="connsiteY18" fmla="*/ 782955 h 6715125"/>
              <a:gd name="connsiteX19" fmla="*/ 1745615 w 6968490"/>
              <a:gd name="connsiteY19" fmla="*/ 339725 h 6715125"/>
              <a:gd name="connsiteX20" fmla="*/ 554990 w 6968490"/>
              <a:gd name="connsiteY20" fmla="*/ 92075 h 6715125"/>
              <a:gd name="connsiteX21" fmla="*/ 0 w 6968490"/>
              <a:gd name="connsiteY21" fmla="*/ 45085 h 6715125"/>
              <a:gd name="connsiteX22" fmla="*/ 214604 w 6968490"/>
              <a:gd name="connsiteY22" fmla="*/ 0 h 6715125"/>
              <a:gd name="connsiteX0" fmla="*/ 214604 w 6968490"/>
              <a:gd name="connsiteY0" fmla="*/ 0 h 6715125"/>
              <a:gd name="connsiteX1" fmla="*/ 6961596 w 6968490"/>
              <a:gd name="connsiteY1" fmla="*/ 3175 h 6715125"/>
              <a:gd name="connsiteX2" fmla="*/ 6968490 w 6968490"/>
              <a:gd name="connsiteY2" fmla="*/ 6702425 h 6715125"/>
              <a:gd name="connsiteX3" fmla="*/ 6451872 w 6968490"/>
              <a:gd name="connsiteY3" fmla="*/ 6710045 h 6715125"/>
              <a:gd name="connsiteX4" fmla="*/ 6066790 w 6968490"/>
              <a:gd name="connsiteY4" fmla="*/ 6715125 h 6715125"/>
              <a:gd name="connsiteX5" fmla="*/ 5605054 w 6968490"/>
              <a:gd name="connsiteY5" fmla="*/ 6682649 h 6715125"/>
              <a:gd name="connsiteX6" fmla="*/ 5351599 w 6968490"/>
              <a:gd name="connsiteY6" fmla="*/ 6644458 h 6715125"/>
              <a:gd name="connsiteX7" fmla="*/ 4892040 w 6968490"/>
              <a:gd name="connsiteY7" fmla="*/ 6572250 h 6715125"/>
              <a:gd name="connsiteX8" fmla="*/ 4472940 w 6968490"/>
              <a:gd name="connsiteY8" fmla="*/ 6473825 h 6715125"/>
              <a:gd name="connsiteX9" fmla="*/ 3796665 w 6968490"/>
              <a:gd name="connsiteY9" fmla="*/ 6137275 h 6715125"/>
              <a:gd name="connsiteX10" fmla="*/ 3450590 w 6968490"/>
              <a:gd name="connsiteY10" fmla="*/ 5807075 h 6715125"/>
              <a:gd name="connsiteX11" fmla="*/ 3114040 w 6968490"/>
              <a:gd name="connsiteY11" fmla="*/ 5597525 h 6715125"/>
              <a:gd name="connsiteX12" fmla="*/ 2996565 w 6968490"/>
              <a:gd name="connsiteY12" fmla="*/ 5156200 h 6715125"/>
              <a:gd name="connsiteX13" fmla="*/ 2870809 w 6968490"/>
              <a:gd name="connsiteY13" fmla="*/ 4660900 h 6715125"/>
              <a:gd name="connsiteX14" fmla="*/ 2863215 w 6968490"/>
              <a:gd name="connsiteY14" fmla="*/ 4365625 h 6715125"/>
              <a:gd name="connsiteX15" fmla="*/ 2964815 w 6968490"/>
              <a:gd name="connsiteY15" fmla="*/ 3870325 h 6715125"/>
              <a:gd name="connsiteX16" fmla="*/ 3096260 w 6968490"/>
              <a:gd name="connsiteY16" fmla="*/ 2698750 h 6715125"/>
              <a:gd name="connsiteX17" fmla="*/ 2983230 w 6968490"/>
              <a:gd name="connsiteY17" fmla="*/ 2079626 h 6715125"/>
              <a:gd name="connsiteX18" fmla="*/ 2860675 w 6968490"/>
              <a:gd name="connsiteY18" fmla="*/ 1342390 h 6715125"/>
              <a:gd name="connsiteX19" fmla="*/ 2446655 w 6968490"/>
              <a:gd name="connsiteY19" fmla="*/ 782955 h 6715125"/>
              <a:gd name="connsiteX20" fmla="*/ 1745615 w 6968490"/>
              <a:gd name="connsiteY20" fmla="*/ 339725 h 6715125"/>
              <a:gd name="connsiteX21" fmla="*/ 554990 w 6968490"/>
              <a:gd name="connsiteY21" fmla="*/ 92075 h 6715125"/>
              <a:gd name="connsiteX22" fmla="*/ 0 w 6968490"/>
              <a:gd name="connsiteY22" fmla="*/ 45085 h 6715125"/>
              <a:gd name="connsiteX23" fmla="*/ 214604 w 6968490"/>
              <a:gd name="connsiteY23" fmla="*/ 0 h 6715125"/>
              <a:gd name="connsiteX0" fmla="*/ 214604 w 6968490"/>
              <a:gd name="connsiteY0" fmla="*/ 0 h 6715125"/>
              <a:gd name="connsiteX1" fmla="*/ 6961596 w 6968490"/>
              <a:gd name="connsiteY1" fmla="*/ 3175 h 6715125"/>
              <a:gd name="connsiteX2" fmla="*/ 6968490 w 6968490"/>
              <a:gd name="connsiteY2" fmla="*/ 6702425 h 6715125"/>
              <a:gd name="connsiteX3" fmla="*/ 6451872 w 6968490"/>
              <a:gd name="connsiteY3" fmla="*/ 6710045 h 6715125"/>
              <a:gd name="connsiteX4" fmla="*/ 6066790 w 6968490"/>
              <a:gd name="connsiteY4" fmla="*/ 6715125 h 6715125"/>
              <a:gd name="connsiteX5" fmla="*/ 5605054 w 6968490"/>
              <a:gd name="connsiteY5" fmla="*/ 6682649 h 6715125"/>
              <a:gd name="connsiteX6" fmla="*/ 5351599 w 6968490"/>
              <a:gd name="connsiteY6" fmla="*/ 6644458 h 6715125"/>
              <a:gd name="connsiteX7" fmla="*/ 4892040 w 6968490"/>
              <a:gd name="connsiteY7" fmla="*/ 6572250 h 6715125"/>
              <a:gd name="connsiteX8" fmla="*/ 4472940 w 6968490"/>
              <a:gd name="connsiteY8" fmla="*/ 6473825 h 6715125"/>
              <a:gd name="connsiteX9" fmla="*/ 3796665 w 6968490"/>
              <a:gd name="connsiteY9" fmla="*/ 6137275 h 6715125"/>
              <a:gd name="connsiteX10" fmla="*/ 3450590 w 6968490"/>
              <a:gd name="connsiteY10" fmla="*/ 5807075 h 6715125"/>
              <a:gd name="connsiteX11" fmla="*/ 3114040 w 6968490"/>
              <a:gd name="connsiteY11" fmla="*/ 5597525 h 6715125"/>
              <a:gd name="connsiteX12" fmla="*/ 2996565 w 6968490"/>
              <a:gd name="connsiteY12" fmla="*/ 5156200 h 6715125"/>
              <a:gd name="connsiteX13" fmla="*/ 2870809 w 6968490"/>
              <a:gd name="connsiteY13" fmla="*/ 4660900 h 6715125"/>
              <a:gd name="connsiteX14" fmla="*/ 2863215 w 6968490"/>
              <a:gd name="connsiteY14" fmla="*/ 4365625 h 6715125"/>
              <a:gd name="connsiteX15" fmla="*/ 2964815 w 6968490"/>
              <a:gd name="connsiteY15" fmla="*/ 3870325 h 6715125"/>
              <a:gd name="connsiteX16" fmla="*/ 3096260 w 6968490"/>
              <a:gd name="connsiteY16" fmla="*/ 2698750 h 6715125"/>
              <a:gd name="connsiteX17" fmla="*/ 3082290 w 6968490"/>
              <a:gd name="connsiteY17" fmla="*/ 1995806 h 6715125"/>
              <a:gd name="connsiteX18" fmla="*/ 2860675 w 6968490"/>
              <a:gd name="connsiteY18" fmla="*/ 1342390 h 6715125"/>
              <a:gd name="connsiteX19" fmla="*/ 2446655 w 6968490"/>
              <a:gd name="connsiteY19" fmla="*/ 782955 h 6715125"/>
              <a:gd name="connsiteX20" fmla="*/ 1745615 w 6968490"/>
              <a:gd name="connsiteY20" fmla="*/ 339725 h 6715125"/>
              <a:gd name="connsiteX21" fmla="*/ 554990 w 6968490"/>
              <a:gd name="connsiteY21" fmla="*/ 92075 h 6715125"/>
              <a:gd name="connsiteX22" fmla="*/ 0 w 6968490"/>
              <a:gd name="connsiteY22" fmla="*/ 45085 h 6715125"/>
              <a:gd name="connsiteX23" fmla="*/ 214604 w 6968490"/>
              <a:gd name="connsiteY23" fmla="*/ 0 h 6715125"/>
              <a:gd name="connsiteX0" fmla="*/ 214604 w 6968490"/>
              <a:gd name="connsiteY0" fmla="*/ 0 h 6715125"/>
              <a:gd name="connsiteX1" fmla="*/ 6961596 w 6968490"/>
              <a:gd name="connsiteY1" fmla="*/ 3175 h 6715125"/>
              <a:gd name="connsiteX2" fmla="*/ 6968490 w 6968490"/>
              <a:gd name="connsiteY2" fmla="*/ 6702425 h 6715125"/>
              <a:gd name="connsiteX3" fmla="*/ 6451872 w 6968490"/>
              <a:gd name="connsiteY3" fmla="*/ 6710045 h 6715125"/>
              <a:gd name="connsiteX4" fmla="*/ 6066790 w 6968490"/>
              <a:gd name="connsiteY4" fmla="*/ 6715125 h 6715125"/>
              <a:gd name="connsiteX5" fmla="*/ 5605054 w 6968490"/>
              <a:gd name="connsiteY5" fmla="*/ 6682649 h 6715125"/>
              <a:gd name="connsiteX6" fmla="*/ 5351599 w 6968490"/>
              <a:gd name="connsiteY6" fmla="*/ 6644458 h 6715125"/>
              <a:gd name="connsiteX7" fmla="*/ 4892040 w 6968490"/>
              <a:gd name="connsiteY7" fmla="*/ 6572250 h 6715125"/>
              <a:gd name="connsiteX8" fmla="*/ 4472940 w 6968490"/>
              <a:gd name="connsiteY8" fmla="*/ 6473825 h 6715125"/>
              <a:gd name="connsiteX9" fmla="*/ 3796665 w 6968490"/>
              <a:gd name="connsiteY9" fmla="*/ 6137275 h 6715125"/>
              <a:gd name="connsiteX10" fmla="*/ 3450590 w 6968490"/>
              <a:gd name="connsiteY10" fmla="*/ 5807075 h 6715125"/>
              <a:gd name="connsiteX11" fmla="*/ 3114040 w 6968490"/>
              <a:gd name="connsiteY11" fmla="*/ 5597525 h 6715125"/>
              <a:gd name="connsiteX12" fmla="*/ 2996565 w 6968490"/>
              <a:gd name="connsiteY12" fmla="*/ 5156200 h 6715125"/>
              <a:gd name="connsiteX13" fmla="*/ 2870809 w 6968490"/>
              <a:gd name="connsiteY13" fmla="*/ 4660900 h 6715125"/>
              <a:gd name="connsiteX14" fmla="*/ 2863215 w 6968490"/>
              <a:gd name="connsiteY14" fmla="*/ 4365625 h 6715125"/>
              <a:gd name="connsiteX15" fmla="*/ 2964815 w 6968490"/>
              <a:gd name="connsiteY15" fmla="*/ 3870325 h 6715125"/>
              <a:gd name="connsiteX16" fmla="*/ 3096260 w 6968490"/>
              <a:gd name="connsiteY16" fmla="*/ 2698750 h 6715125"/>
              <a:gd name="connsiteX17" fmla="*/ 3082290 w 6968490"/>
              <a:gd name="connsiteY17" fmla="*/ 1995806 h 6715125"/>
              <a:gd name="connsiteX18" fmla="*/ 2937510 w 6968490"/>
              <a:gd name="connsiteY18" fmla="*/ 1569086 h 6715125"/>
              <a:gd name="connsiteX19" fmla="*/ 2860675 w 6968490"/>
              <a:gd name="connsiteY19" fmla="*/ 1342390 h 6715125"/>
              <a:gd name="connsiteX20" fmla="*/ 2446655 w 6968490"/>
              <a:gd name="connsiteY20" fmla="*/ 782955 h 6715125"/>
              <a:gd name="connsiteX21" fmla="*/ 1745615 w 6968490"/>
              <a:gd name="connsiteY21" fmla="*/ 339725 h 6715125"/>
              <a:gd name="connsiteX22" fmla="*/ 554990 w 6968490"/>
              <a:gd name="connsiteY22" fmla="*/ 92075 h 6715125"/>
              <a:gd name="connsiteX23" fmla="*/ 0 w 6968490"/>
              <a:gd name="connsiteY23" fmla="*/ 45085 h 6715125"/>
              <a:gd name="connsiteX24" fmla="*/ 214604 w 6968490"/>
              <a:gd name="connsiteY24" fmla="*/ 0 h 6715125"/>
              <a:gd name="connsiteX0" fmla="*/ 214604 w 6968490"/>
              <a:gd name="connsiteY0" fmla="*/ 0 h 6715125"/>
              <a:gd name="connsiteX1" fmla="*/ 6961596 w 6968490"/>
              <a:gd name="connsiteY1" fmla="*/ 3175 h 6715125"/>
              <a:gd name="connsiteX2" fmla="*/ 6968490 w 6968490"/>
              <a:gd name="connsiteY2" fmla="*/ 6702425 h 6715125"/>
              <a:gd name="connsiteX3" fmla="*/ 6451872 w 6968490"/>
              <a:gd name="connsiteY3" fmla="*/ 6710045 h 6715125"/>
              <a:gd name="connsiteX4" fmla="*/ 6066790 w 6968490"/>
              <a:gd name="connsiteY4" fmla="*/ 6715125 h 6715125"/>
              <a:gd name="connsiteX5" fmla="*/ 5605054 w 6968490"/>
              <a:gd name="connsiteY5" fmla="*/ 6682649 h 6715125"/>
              <a:gd name="connsiteX6" fmla="*/ 5351599 w 6968490"/>
              <a:gd name="connsiteY6" fmla="*/ 6644458 h 6715125"/>
              <a:gd name="connsiteX7" fmla="*/ 4892040 w 6968490"/>
              <a:gd name="connsiteY7" fmla="*/ 6572250 h 6715125"/>
              <a:gd name="connsiteX8" fmla="*/ 4472940 w 6968490"/>
              <a:gd name="connsiteY8" fmla="*/ 6473825 h 6715125"/>
              <a:gd name="connsiteX9" fmla="*/ 3796665 w 6968490"/>
              <a:gd name="connsiteY9" fmla="*/ 6137275 h 6715125"/>
              <a:gd name="connsiteX10" fmla="*/ 3450590 w 6968490"/>
              <a:gd name="connsiteY10" fmla="*/ 5807075 h 6715125"/>
              <a:gd name="connsiteX11" fmla="*/ 3114040 w 6968490"/>
              <a:gd name="connsiteY11" fmla="*/ 5597525 h 6715125"/>
              <a:gd name="connsiteX12" fmla="*/ 2996565 w 6968490"/>
              <a:gd name="connsiteY12" fmla="*/ 5156200 h 6715125"/>
              <a:gd name="connsiteX13" fmla="*/ 2870809 w 6968490"/>
              <a:gd name="connsiteY13" fmla="*/ 4660900 h 6715125"/>
              <a:gd name="connsiteX14" fmla="*/ 2863215 w 6968490"/>
              <a:gd name="connsiteY14" fmla="*/ 4365625 h 6715125"/>
              <a:gd name="connsiteX15" fmla="*/ 2964815 w 6968490"/>
              <a:gd name="connsiteY15" fmla="*/ 3870325 h 6715125"/>
              <a:gd name="connsiteX16" fmla="*/ 3096260 w 6968490"/>
              <a:gd name="connsiteY16" fmla="*/ 2698750 h 6715125"/>
              <a:gd name="connsiteX17" fmla="*/ 3082290 w 6968490"/>
              <a:gd name="connsiteY17" fmla="*/ 1995806 h 6715125"/>
              <a:gd name="connsiteX18" fmla="*/ 2998470 w 6968490"/>
              <a:gd name="connsiteY18" fmla="*/ 1538606 h 6715125"/>
              <a:gd name="connsiteX19" fmla="*/ 2860675 w 6968490"/>
              <a:gd name="connsiteY19" fmla="*/ 1342390 h 6715125"/>
              <a:gd name="connsiteX20" fmla="*/ 2446655 w 6968490"/>
              <a:gd name="connsiteY20" fmla="*/ 782955 h 6715125"/>
              <a:gd name="connsiteX21" fmla="*/ 1745615 w 6968490"/>
              <a:gd name="connsiteY21" fmla="*/ 339725 h 6715125"/>
              <a:gd name="connsiteX22" fmla="*/ 554990 w 6968490"/>
              <a:gd name="connsiteY22" fmla="*/ 92075 h 6715125"/>
              <a:gd name="connsiteX23" fmla="*/ 0 w 6968490"/>
              <a:gd name="connsiteY23" fmla="*/ 45085 h 6715125"/>
              <a:gd name="connsiteX24" fmla="*/ 214604 w 6968490"/>
              <a:gd name="connsiteY24" fmla="*/ 0 h 6715125"/>
              <a:gd name="connsiteX0" fmla="*/ 214604 w 6968490"/>
              <a:gd name="connsiteY0" fmla="*/ 0 h 6715125"/>
              <a:gd name="connsiteX1" fmla="*/ 6961596 w 6968490"/>
              <a:gd name="connsiteY1" fmla="*/ 3175 h 6715125"/>
              <a:gd name="connsiteX2" fmla="*/ 6968490 w 6968490"/>
              <a:gd name="connsiteY2" fmla="*/ 6702425 h 6715125"/>
              <a:gd name="connsiteX3" fmla="*/ 6451872 w 6968490"/>
              <a:gd name="connsiteY3" fmla="*/ 6710045 h 6715125"/>
              <a:gd name="connsiteX4" fmla="*/ 6066790 w 6968490"/>
              <a:gd name="connsiteY4" fmla="*/ 6715125 h 6715125"/>
              <a:gd name="connsiteX5" fmla="*/ 5605054 w 6968490"/>
              <a:gd name="connsiteY5" fmla="*/ 6682649 h 6715125"/>
              <a:gd name="connsiteX6" fmla="*/ 5351599 w 6968490"/>
              <a:gd name="connsiteY6" fmla="*/ 6644458 h 6715125"/>
              <a:gd name="connsiteX7" fmla="*/ 4892040 w 6968490"/>
              <a:gd name="connsiteY7" fmla="*/ 6572250 h 6715125"/>
              <a:gd name="connsiteX8" fmla="*/ 4472940 w 6968490"/>
              <a:gd name="connsiteY8" fmla="*/ 6473825 h 6715125"/>
              <a:gd name="connsiteX9" fmla="*/ 3796665 w 6968490"/>
              <a:gd name="connsiteY9" fmla="*/ 6137275 h 6715125"/>
              <a:gd name="connsiteX10" fmla="*/ 3450590 w 6968490"/>
              <a:gd name="connsiteY10" fmla="*/ 5807075 h 6715125"/>
              <a:gd name="connsiteX11" fmla="*/ 3114040 w 6968490"/>
              <a:gd name="connsiteY11" fmla="*/ 5597525 h 6715125"/>
              <a:gd name="connsiteX12" fmla="*/ 2996565 w 6968490"/>
              <a:gd name="connsiteY12" fmla="*/ 5156200 h 6715125"/>
              <a:gd name="connsiteX13" fmla="*/ 2870809 w 6968490"/>
              <a:gd name="connsiteY13" fmla="*/ 4660900 h 6715125"/>
              <a:gd name="connsiteX14" fmla="*/ 2863215 w 6968490"/>
              <a:gd name="connsiteY14" fmla="*/ 4365625 h 6715125"/>
              <a:gd name="connsiteX15" fmla="*/ 2964815 w 6968490"/>
              <a:gd name="connsiteY15" fmla="*/ 3870325 h 6715125"/>
              <a:gd name="connsiteX16" fmla="*/ 3119120 w 6968490"/>
              <a:gd name="connsiteY16" fmla="*/ 2698750 h 6715125"/>
              <a:gd name="connsiteX17" fmla="*/ 3082290 w 6968490"/>
              <a:gd name="connsiteY17" fmla="*/ 1995806 h 6715125"/>
              <a:gd name="connsiteX18" fmla="*/ 2998470 w 6968490"/>
              <a:gd name="connsiteY18" fmla="*/ 1538606 h 6715125"/>
              <a:gd name="connsiteX19" fmla="*/ 2860675 w 6968490"/>
              <a:gd name="connsiteY19" fmla="*/ 1342390 h 6715125"/>
              <a:gd name="connsiteX20" fmla="*/ 2446655 w 6968490"/>
              <a:gd name="connsiteY20" fmla="*/ 782955 h 6715125"/>
              <a:gd name="connsiteX21" fmla="*/ 1745615 w 6968490"/>
              <a:gd name="connsiteY21" fmla="*/ 339725 h 6715125"/>
              <a:gd name="connsiteX22" fmla="*/ 554990 w 6968490"/>
              <a:gd name="connsiteY22" fmla="*/ 92075 h 6715125"/>
              <a:gd name="connsiteX23" fmla="*/ 0 w 6968490"/>
              <a:gd name="connsiteY23" fmla="*/ 45085 h 6715125"/>
              <a:gd name="connsiteX24" fmla="*/ 214604 w 6968490"/>
              <a:gd name="connsiteY24" fmla="*/ 0 h 6715125"/>
              <a:gd name="connsiteX0" fmla="*/ 214604 w 6968490"/>
              <a:gd name="connsiteY0" fmla="*/ 0 h 6715125"/>
              <a:gd name="connsiteX1" fmla="*/ 6961596 w 6968490"/>
              <a:gd name="connsiteY1" fmla="*/ 3175 h 6715125"/>
              <a:gd name="connsiteX2" fmla="*/ 6968490 w 6968490"/>
              <a:gd name="connsiteY2" fmla="*/ 6702425 h 6715125"/>
              <a:gd name="connsiteX3" fmla="*/ 6451872 w 6968490"/>
              <a:gd name="connsiteY3" fmla="*/ 6710045 h 6715125"/>
              <a:gd name="connsiteX4" fmla="*/ 6066790 w 6968490"/>
              <a:gd name="connsiteY4" fmla="*/ 6715125 h 6715125"/>
              <a:gd name="connsiteX5" fmla="*/ 5605054 w 6968490"/>
              <a:gd name="connsiteY5" fmla="*/ 6682649 h 6715125"/>
              <a:gd name="connsiteX6" fmla="*/ 5351599 w 6968490"/>
              <a:gd name="connsiteY6" fmla="*/ 6644458 h 6715125"/>
              <a:gd name="connsiteX7" fmla="*/ 4892040 w 6968490"/>
              <a:gd name="connsiteY7" fmla="*/ 6572250 h 6715125"/>
              <a:gd name="connsiteX8" fmla="*/ 4472940 w 6968490"/>
              <a:gd name="connsiteY8" fmla="*/ 6473825 h 6715125"/>
              <a:gd name="connsiteX9" fmla="*/ 3796665 w 6968490"/>
              <a:gd name="connsiteY9" fmla="*/ 6137275 h 6715125"/>
              <a:gd name="connsiteX10" fmla="*/ 3450590 w 6968490"/>
              <a:gd name="connsiteY10" fmla="*/ 5807075 h 6715125"/>
              <a:gd name="connsiteX11" fmla="*/ 3114040 w 6968490"/>
              <a:gd name="connsiteY11" fmla="*/ 5597525 h 6715125"/>
              <a:gd name="connsiteX12" fmla="*/ 2996565 w 6968490"/>
              <a:gd name="connsiteY12" fmla="*/ 5156200 h 6715125"/>
              <a:gd name="connsiteX13" fmla="*/ 2870809 w 6968490"/>
              <a:gd name="connsiteY13" fmla="*/ 4660900 h 6715125"/>
              <a:gd name="connsiteX14" fmla="*/ 2863215 w 6968490"/>
              <a:gd name="connsiteY14" fmla="*/ 4365625 h 6715125"/>
              <a:gd name="connsiteX15" fmla="*/ 2964815 w 6968490"/>
              <a:gd name="connsiteY15" fmla="*/ 3870325 h 6715125"/>
              <a:gd name="connsiteX16" fmla="*/ 3028950 w 6968490"/>
              <a:gd name="connsiteY16" fmla="*/ 3535046 h 6715125"/>
              <a:gd name="connsiteX17" fmla="*/ 3119120 w 6968490"/>
              <a:gd name="connsiteY17" fmla="*/ 2698750 h 6715125"/>
              <a:gd name="connsiteX18" fmla="*/ 3082290 w 6968490"/>
              <a:gd name="connsiteY18" fmla="*/ 1995806 h 6715125"/>
              <a:gd name="connsiteX19" fmla="*/ 2998470 w 6968490"/>
              <a:gd name="connsiteY19" fmla="*/ 1538606 h 6715125"/>
              <a:gd name="connsiteX20" fmla="*/ 2860675 w 6968490"/>
              <a:gd name="connsiteY20" fmla="*/ 1342390 h 6715125"/>
              <a:gd name="connsiteX21" fmla="*/ 2446655 w 6968490"/>
              <a:gd name="connsiteY21" fmla="*/ 782955 h 6715125"/>
              <a:gd name="connsiteX22" fmla="*/ 1745615 w 6968490"/>
              <a:gd name="connsiteY22" fmla="*/ 339725 h 6715125"/>
              <a:gd name="connsiteX23" fmla="*/ 554990 w 6968490"/>
              <a:gd name="connsiteY23" fmla="*/ 92075 h 6715125"/>
              <a:gd name="connsiteX24" fmla="*/ 0 w 6968490"/>
              <a:gd name="connsiteY24" fmla="*/ 45085 h 6715125"/>
              <a:gd name="connsiteX25" fmla="*/ 214604 w 6968490"/>
              <a:gd name="connsiteY25" fmla="*/ 0 h 6715125"/>
              <a:gd name="connsiteX0" fmla="*/ 214604 w 6968490"/>
              <a:gd name="connsiteY0" fmla="*/ 0 h 6715125"/>
              <a:gd name="connsiteX1" fmla="*/ 6961596 w 6968490"/>
              <a:gd name="connsiteY1" fmla="*/ 3175 h 6715125"/>
              <a:gd name="connsiteX2" fmla="*/ 6968490 w 6968490"/>
              <a:gd name="connsiteY2" fmla="*/ 6702425 h 6715125"/>
              <a:gd name="connsiteX3" fmla="*/ 6451872 w 6968490"/>
              <a:gd name="connsiteY3" fmla="*/ 6710045 h 6715125"/>
              <a:gd name="connsiteX4" fmla="*/ 6066790 w 6968490"/>
              <a:gd name="connsiteY4" fmla="*/ 6715125 h 6715125"/>
              <a:gd name="connsiteX5" fmla="*/ 5605054 w 6968490"/>
              <a:gd name="connsiteY5" fmla="*/ 6682649 h 6715125"/>
              <a:gd name="connsiteX6" fmla="*/ 5351599 w 6968490"/>
              <a:gd name="connsiteY6" fmla="*/ 6644458 h 6715125"/>
              <a:gd name="connsiteX7" fmla="*/ 4892040 w 6968490"/>
              <a:gd name="connsiteY7" fmla="*/ 6572250 h 6715125"/>
              <a:gd name="connsiteX8" fmla="*/ 4472940 w 6968490"/>
              <a:gd name="connsiteY8" fmla="*/ 6473825 h 6715125"/>
              <a:gd name="connsiteX9" fmla="*/ 3796665 w 6968490"/>
              <a:gd name="connsiteY9" fmla="*/ 6137275 h 6715125"/>
              <a:gd name="connsiteX10" fmla="*/ 3450590 w 6968490"/>
              <a:gd name="connsiteY10" fmla="*/ 5807075 h 6715125"/>
              <a:gd name="connsiteX11" fmla="*/ 3114040 w 6968490"/>
              <a:gd name="connsiteY11" fmla="*/ 5597525 h 6715125"/>
              <a:gd name="connsiteX12" fmla="*/ 2996565 w 6968490"/>
              <a:gd name="connsiteY12" fmla="*/ 5156200 h 6715125"/>
              <a:gd name="connsiteX13" fmla="*/ 2870809 w 6968490"/>
              <a:gd name="connsiteY13" fmla="*/ 4660900 h 6715125"/>
              <a:gd name="connsiteX14" fmla="*/ 2863215 w 6968490"/>
              <a:gd name="connsiteY14" fmla="*/ 4365625 h 6715125"/>
              <a:gd name="connsiteX15" fmla="*/ 2964815 w 6968490"/>
              <a:gd name="connsiteY15" fmla="*/ 3870325 h 6715125"/>
              <a:gd name="connsiteX16" fmla="*/ 2975610 w 6968490"/>
              <a:gd name="connsiteY16" fmla="*/ 3527426 h 6715125"/>
              <a:gd name="connsiteX17" fmla="*/ 3119120 w 6968490"/>
              <a:gd name="connsiteY17" fmla="*/ 2698750 h 6715125"/>
              <a:gd name="connsiteX18" fmla="*/ 3082290 w 6968490"/>
              <a:gd name="connsiteY18" fmla="*/ 1995806 h 6715125"/>
              <a:gd name="connsiteX19" fmla="*/ 2998470 w 6968490"/>
              <a:gd name="connsiteY19" fmla="*/ 1538606 h 6715125"/>
              <a:gd name="connsiteX20" fmla="*/ 2860675 w 6968490"/>
              <a:gd name="connsiteY20" fmla="*/ 1342390 h 6715125"/>
              <a:gd name="connsiteX21" fmla="*/ 2446655 w 6968490"/>
              <a:gd name="connsiteY21" fmla="*/ 782955 h 6715125"/>
              <a:gd name="connsiteX22" fmla="*/ 1745615 w 6968490"/>
              <a:gd name="connsiteY22" fmla="*/ 339725 h 6715125"/>
              <a:gd name="connsiteX23" fmla="*/ 554990 w 6968490"/>
              <a:gd name="connsiteY23" fmla="*/ 92075 h 6715125"/>
              <a:gd name="connsiteX24" fmla="*/ 0 w 6968490"/>
              <a:gd name="connsiteY24" fmla="*/ 45085 h 6715125"/>
              <a:gd name="connsiteX25" fmla="*/ 214604 w 6968490"/>
              <a:gd name="connsiteY25" fmla="*/ 0 h 6715125"/>
              <a:gd name="connsiteX0" fmla="*/ 214604 w 6968490"/>
              <a:gd name="connsiteY0" fmla="*/ 0 h 6715125"/>
              <a:gd name="connsiteX1" fmla="*/ 6961596 w 6968490"/>
              <a:gd name="connsiteY1" fmla="*/ 3175 h 6715125"/>
              <a:gd name="connsiteX2" fmla="*/ 6968490 w 6968490"/>
              <a:gd name="connsiteY2" fmla="*/ 6702425 h 6715125"/>
              <a:gd name="connsiteX3" fmla="*/ 6451872 w 6968490"/>
              <a:gd name="connsiteY3" fmla="*/ 6710045 h 6715125"/>
              <a:gd name="connsiteX4" fmla="*/ 6066790 w 6968490"/>
              <a:gd name="connsiteY4" fmla="*/ 6715125 h 6715125"/>
              <a:gd name="connsiteX5" fmla="*/ 5605054 w 6968490"/>
              <a:gd name="connsiteY5" fmla="*/ 6682649 h 6715125"/>
              <a:gd name="connsiteX6" fmla="*/ 5351599 w 6968490"/>
              <a:gd name="connsiteY6" fmla="*/ 6644458 h 6715125"/>
              <a:gd name="connsiteX7" fmla="*/ 4892040 w 6968490"/>
              <a:gd name="connsiteY7" fmla="*/ 6572250 h 6715125"/>
              <a:gd name="connsiteX8" fmla="*/ 4472940 w 6968490"/>
              <a:gd name="connsiteY8" fmla="*/ 6473825 h 6715125"/>
              <a:gd name="connsiteX9" fmla="*/ 3796665 w 6968490"/>
              <a:gd name="connsiteY9" fmla="*/ 6137275 h 6715125"/>
              <a:gd name="connsiteX10" fmla="*/ 3450590 w 6968490"/>
              <a:gd name="connsiteY10" fmla="*/ 5807075 h 6715125"/>
              <a:gd name="connsiteX11" fmla="*/ 3114040 w 6968490"/>
              <a:gd name="connsiteY11" fmla="*/ 5597525 h 6715125"/>
              <a:gd name="connsiteX12" fmla="*/ 2996565 w 6968490"/>
              <a:gd name="connsiteY12" fmla="*/ 5156200 h 6715125"/>
              <a:gd name="connsiteX13" fmla="*/ 2870809 w 6968490"/>
              <a:gd name="connsiteY13" fmla="*/ 4660900 h 6715125"/>
              <a:gd name="connsiteX14" fmla="*/ 2863215 w 6968490"/>
              <a:gd name="connsiteY14" fmla="*/ 4365625 h 6715125"/>
              <a:gd name="connsiteX15" fmla="*/ 2911475 w 6968490"/>
              <a:gd name="connsiteY15" fmla="*/ 3862705 h 6715125"/>
              <a:gd name="connsiteX16" fmla="*/ 2975610 w 6968490"/>
              <a:gd name="connsiteY16" fmla="*/ 3527426 h 6715125"/>
              <a:gd name="connsiteX17" fmla="*/ 3119120 w 6968490"/>
              <a:gd name="connsiteY17" fmla="*/ 2698750 h 6715125"/>
              <a:gd name="connsiteX18" fmla="*/ 3082290 w 6968490"/>
              <a:gd name="connsiteY18" fmla="*/ 1995806 h 6715125"/>
              <a:gd name="connsiteX19" fmla="*/ 2998470 w 6968490"/>
              <a:gd name="connsiteY19" fmla="*/ 1538606 h 6715125"/>
              <a:gd name="connsiteX20" fmla="*/ 2860675 w 6968490"/>
              <a:gd name="connsiteY20" fmla="*/ 1342390 h 6715125"/>
              <a:gd name="connsiteX21" fmla="*/ 2446655 w 6968490"/>
              <a:gd name="connsiteY21" fmla="*/ 782955 h 6715125"/>
              <a:gd name="connsiteX22" fmla="*/ 1745615 w 6968490"/>
              <a:gd name="connsiteY22" fmla="*/ 339725 h 6715125"/>
              <a:gd name="connsiteX23" fmla="*/ 554990 w 6968490"/>
              <a:gd name="connsiteY23" fmla="*/ 92075 h 6715125"/>
              <a:gd name="connsiteX24" fmla="*/ 0 w 6968490"/>
              <a:gd name="connsiteY24" fmla="*/ 45085 h 6715125"/>
              <a:gd name="connsiteX25" fmla="*/ 214604 w 6968490"/>
              <a:gd name="connsiteY25" fmla="*/ 0 h 6715125"/>
              <a:gd name="connsiteX0" fmla="*/ 214604 w 6968490"/>
              <a:gd name="connsiteY0" fmla="*/ 0 h 6715125"/>
              <a:gd name="connsiteX1" fmla="*/ 6961596 w 6968490"/>
              <a:gd name="connsiteY1" fmla="*/ 3175 h 6715125"/>
              <a:gd name="connsiteX2" fmla="*/ 6968490 w 6968490"/>
              <a:gd name="connsiteY2" fmla="*/ 6702425 h 6715125"/>
              <a:gd name="connsiteX3" fmla="*/ 6451872 w 6968490"/>
              <a:gd name="connsiteY3" fmla="*/ 6710045 h 6715125"/>
              <a:gd name="connsiteX4" fmla="*/ 6066790 w 6968490"/>
              <a:gd name="connsiteY4" fmla="*/ 6715125 h 6715125"/>
              <a:gd name="connsiteX5" fmla="*/ 5605054 w 6968490"/>
              <a:gd name="connsiteY5" fmla="*/ 6682649 h 6715125"/>
              <a:gd name="connsiteX6" fmla="*/ 5351599 w 6968490"/>
              <a:gd name="connsiteY6" fmla="*/ 6644458 h 6715125"/>
              <a:gd name="connsiteX7" fmla="*/ 4892040 w 6968490"/>
              <a:gd name="connsiteY7" fmla="*/ 6572250 h 6715125"/>
              <a:gd name="connsiteX8" fmla="*/ 4472940 w 6968490"/>
              <a:gd name="connsiteY8" fmla="*/ 6473825 h 6715125"/>
              <a:gd name="connsiteX9" fmla="*/ 3796665 w 6968490"/>
              <a:gd name="connsiteY9" fmla="*/ 6137275 h 6715125"/>
              <a:gd name="connsiteX10" fmla="*/ 3450590 w 6968490"/>
              <a:gd name="connsiteY10" fmla="*/ 5807075 h 6715125"/>
              <a:gd name="connsiteX11" fmla="*/ 3114040 w 6968490"/>
              <a:gd name="connsiteY11" fmla="*/ 5597525 h 6715125"/>
              <a:gd name="connsiteX12" fmla="*/ 2996565 w 6968490"/>
              <a:gd name="connsiteY12" fmla="*/ 5156200 h 6715125"/>
              <a:gd name="connsiteX13" fmla="*/ 2870809 w 6968490"/>
              <a:gd name="connsiteY13" fmla="*/ 4660900 h 6715125"/>
              <a:gd name="connsiteX14" fmla="*/ 2809875 w 6968490"/>
              <a:gd name="connsiteY14" fmla="*/ 4358005 h 6715125"/>
              <a:gd name="connsiteX15" fmla="*/ 2911475 w 6968490"/>
              <a:gd name="connsiteY15" fmla="*/ 3862705 h 6715125"/>
              <a:gd name="connsiteX16" fmla="*/ 2975610 w 6968490"/>
              <a:gd name="connsiteY16" fmla="*/ 3527426 h 6715125"/>
              <a:gd name="connsiteX17" fmla="*/ 3119120 w 6968490"/>
              <a:gd name="connsiteY17" fmla="*/ 2698750 h 6715125"/>
              <a:gd name="connsiteX18" fmla="*/ 3082290 w 6968490"/>
              <a:gd name="connsiteY18" fmla="*/ 1995806 h 6715125"/>
              <a:gd name="connsiteX19" fmla="*/ 2998470 w 6968490"/>
              <a:gd name="connsiteY19" fmla="*/ 1538606 h 6715125"/>
              <a:gd name="connsiteX20" fmla="*/ 2860675 w 6968490"/>
              <a:gd name="connsiteY20" fmla="*/ 1342390 h 6715125"/>
              <a:gd name="connsiteX21" fmla="*/ 2446655 w 6968490"/>
              <a:gd name="connsiteY21" fmla="*/ 782955 h 6715125"/>
              <a:gd name="connsiteX22" fmla="*/ 1745615 w 6968490"/>
              <a:gd name="connsiteY22" fmla="*/ 339725 h 6715125"/>
              <a:gd name="connsiteX23" fmla="*/ 554990 w 6968490"/>
              <a:gd name="connsiteY23" fmla="*/ 92075 h 6715125"/>
              <a:gd name="connsiteX24" fmla="*/ 0 w 6968490"/>
              <a:gd name="connsiteY24" fmla="*/ 45085 h 6715125"/>
              <a:gd name="connsiteX25" fmla="*/ 214604 w 6968490"/>
              <a:gd name="connsiteY25" fmla="*/ 0 h 6715125"/>
              <a:gd name="connsiteX0" fmla="*/ 214604 w 6968490"/>
              <a:gd name="connsiteY0" fmla="*/ 0 h 6715125"/>
              <a:gd name="connsiteX1" fmla="*/ 6961596 w 6968490"/>
              <a:gd name="connsiteY1" fmla="*/ 3175 h 6715125"/>
              <a:gd name="connsiteX2" fmla="*/ 6968490 w 6968490"/>
              <a:gd name="connsiteY2" fmla="*/ 6702425 h 6715125"/>
              <a:gd name="connsiteX3" fmla="*/ 6451872 w 6968490"/>
              <a:gd name="connsiteY3" fmla="*/ 6710045 h 6715125"/>
              <a:gd name="connsiteX4" fmla="*/ 6066790 w 6968490"/>
              <a:gd name="connsiteY4" fmla="*/ 6715125 h 6715125"/>
              <a:gd name="connsiteX5" fmla="*/ 5605054 w 6968490"/>
              <a:gd name="connsiteY5" fmla="*/ 6682649 h 6715125"/>
              <a:gd name="connsiteX6" fmla="*/ 5351599 w 6968490"/>
              <a:gd name="connsiteY6" fmla="*/ 6644458 h 6715125"/>
              <a:gd name="connsiteX7" fmla="*/ 4892040 w 6968490"/>
              <a:gd name="connsiteY7" fmla="*/ 6572250 h 6715125"/>
              <a:gd name="connsiteX8" fmla="*/ 4472940 w 6968490"/>
              <a:gd name="connsiteY8" fmla="*/ 6473825 h 6715125"/>
              <a:gd name="connsiteX9" fmla="*/ 3796665 w 6968490"/>
              <a:gd name="connsiteY9" fmla="*/ 6137275 h 6715125"/>
              <a:gd name="connsiteX10" fmla="*/ 3450590 w 6968490"/>
              <a:gd name="connsiteY10" fmla="*/ 5807075 h 6715125"/>
              <a:gd name="connsiteX11" fmla="*/ 3114040 w 6968490"/>
              <a:gd name="connsiteY11" fmla="*/ 5597525 h 6715125"/>
              <a:gd name="connsiteX12" fmla="*/ 2996565 w 6968490"/>
              <a:gd name="connsiteY12" fmla="*/ 5156200 h 6715125"/>
              <a:gd name="connsiteX13" fmla="*/ 2832709 w 6968490"/>
              <a:gd name="connsiteY13" fmla="*/ 4782820 h 6715125"/>
              <a:gd name="connsiteX14" fmla="*/ 2809875 w 6968490"/>
              <a:gd name="connsiteY14" fmla="*/ 4358005 h 6715125"/>
              <a:gd name="connsiteX15" fmla="*/ 2911475 w 6968490"/>
              <a:gd name="connsiteY15" fmla="*/ 3862705 h 6715125"/>
              <a:gd name="connsiteX16" fmla="*/ 2975610 w 6968490"/>
              <a:gd name="connsiteY16" fmla="*/ 3527426 h 6715125"/>
              <a:gd name="connsiteX17" fmla="*/ 3119120 w 6968490"/>
              <a:gd name="connsiteY17" fmla="*/ 2698750 h 6715125"/>
              <a:gd name="connsiteX18" fmla="*/ 3082290 w 6968490"/>
              <a:gd name="connsiteY18" fmla="*/ 1995806 h 6715125"/>
              <a:gd name="connsiteX19" fmla="*/ 2998470 w 6968490"/>
              <a:gd name="connsiteY19" fmla="*/ 1538606 h 6715125"/>
              <a:gd name="connsiteX20" fmla="*/ 2860675 w 6968490"/>
              <a:gd name="connsiteY20" fmla="*/ 1342390 h 6715125"/>
              <a:gd name="connsiteX21" fmla="*/ 2446655 w 6968490"/>
              <a:gd name="connsiteY21" fmla="*/ 782955 h 6715125"/>
              <a:gd name="connsiteX22" fmla="*/ 1745615 w 6968490"/>
              <a:gd name="connsiteY22" fmla="*/ 339725 h 6715125"/>
              <a:gd name="connsiteX23" fmla="*/ 554990 w 6968490"/>
              <a:gd name="connsiteY23" fmla="*/ 92075 h 6715125"/>
              <a:gd name="connsiteX24" fmla="*/ 0 w 6968490"/>
              <a:gd name="connsiteY24" fmla="*/ 45085 h 6715125"/>
              <a:gd name="connsiteX25" fmla="*/ 214604 w 6968490"/>
              <a:gd name="connsiteY25" fmla="*/ 0 h 6715125"/>
              <a:gd name="connsiteX0" fmla="*/ 214604 w 6968490"/>
              <a:gd name="connsiteY0" fmla="*/ 0 h 6715125"/>
              <a:gd name="connsiteX1" fmla="*/ 6961596 w 6968490"/>
              <a:gd name="connsiteY1" fmla="*/ 3175 h 6715125"/>
              <a:gd name="connsiteX2" fmla="*/ 6968490 w 6968490"/>
              <a:gd name="connsiteY2" fmla="*/ 6702425 h 6715125"/>
              <a:gd name="connsiteX3" fmla="*/ 6451872 w 6968490"/>
              <a:gd name="connsiteY3" fmla="*/ 6710045 h 6715125"/>
              <a:gd name="connsiteX4" fmla="*/ 6066790 w 6968490"/>
              <a:gd name="connsiteY4" fmla="*/ 6715125 h 6715125"/>
              <a:gd name="connsiteX5" fmla="*/ 5605054 w 6968490"/>
              <a:gd name="connsiteY5" fmla="*/ 6682649 h 6715125"/>
              <a:gd name="connsiteX6" fmla="*/ 5351599 w 6968490"/>
              <a:gd name="connsiteY6" fmla="*/ 6644458 h 6715125"/>
              <a:gd name="connsiteX7" fmla="*/ 4892040 w 6968490"/>
              <a:gd name="connsiteY7" fmla="*/ 6572250 h 6715125"/>
              <a:gd name="connsiteX8" fmla="*/ 4472940 w 6968490"/>
              <a:gd name="connsiteY8" fmla="*/ 6473825 h 6715125"/>
              <a:gd name="connsiteX9" fmla="*/ 3796665 w 6968490"/>
              <a:gd name="connsiteY9" fmla="*/ 6137275 h 6715125"/>
              <a:gd name="connsiteX10" fmla="*/ 3450590 w 6968490"/>
              <a:gd name="connsiteY10" fmla="*/ 5807075 h 6715125"/>
              <a:gd name="connsiteX11" fmla="*/ 3114040 w 6968490"/>
              <a:gd name="connsiteY11" fmla="*/ 5597525 h 6715125"/>
              <a:gd name="connsiteX12" fmla="*/ 2912745 w 6968490"/>
              <a:gd name="connsiteY12" fmla="*/ 5087620 h 6715125"/>
              <a:gd name="connsiteX13" fmla="*/ 2832709 w 6968490"/>
              <a:gd name="connsiteY13" fmla="*/ 4782820 h 6715125"/>
              <a:gd name="connsiteX14" fmla="*/ 2809875 w 6968490"/>
              <a:gd name="connsiteY14" fmla="*/ 4358005 h 6715125"/>
              <a:gd name="connsiteX15" fmla="*/ 2911475 w 6968490"/>
              <a:gd name="connsiteY15" fmla="*/ 3862705 h 6715125"/>
              <a:gd name="connsiteX16" fmla="*/ 2975610 w 6968490"/>
              <a:gd name="connsiteY16" fmla="*/ 3527426 h 6715125"/>
              <a:gd name="connsiteX17" fmla="*/ 3119120 w 6968490"/>
              <a:gd name="connsiteY17" fmla="*/ 2698750 h 6715125"/>
              <a:gd name="connsiteX18" fmla="*/ 3082290 w 6968490"/>
              <a:gd name="connsiteY18" fmla="*/ 1995806 h 6715125"/>
              <a:gd name="connsiteX19" fmla="*/ 2998470 w 6968490"/>
              <a:gd name="connsiteY19" fmla="*/ 1538606 h 6715125"/>
              <a:gd name="connsiteX20" fmla="*/ 2860675 w 6968490"/>
              <a:gd name="connsiteY20" fmla="*/ 1342390 h 6715125"/>
              <a:gd name="connsiteX21" fmla="*/ 2446655 w 6968490"/>
              <a:gd name="connsiteY21" fmla="*/ 782955 h 6715125"/>
              <a:gd name="connsiteX22" fmla="*/ 1745615 w 6968490"/>
              <a:gd name="connsiteY22" fmla="*/ 339725 h 6715125"/>
              <a:gd name="connsiteX23" fmla="*/ 554990 w 6968490"/>
              <a:gd name="connsiteY23" fmla="*/ 92075 h 6715125"/>
              <a:gd name="connsiteX24" fmla="*/ 0 w 6968490"/>
              <a:gd name="connsiteY24" fmla="*/ 45085 h 6715125"/>
              <a:gd name="connsiteX25" fmla="*/ 214604 w 6968490"/>
              <a:gd name="connsiteY25" fmla="*/ 0 h 6715125"/>
              <a:gd name="connsiteX0" fmla="*/ 214604 w 6968490"/>
              <a:gd name="connsiteY0" fmla="*/ 0 h 6715125"/>
              <a:gd name="connsiteX1" fmla="*/ 6961596 w 6968490"/>
              <a:gd name="connsiteY1" fmla="*/ 3175 h 6715125"/>
              <a:gd name="connsiteX2" fmla="*/ 6968490 w 6968490"/>
              <a:gd name="connsiteY2" fmla="*/ 6702425 h 6715125"/>
              <a:gd name="connsiteX3" fmla="*/ 6451872 w 6968490"/>
              <a:gd name="connsiteY3" fmla="*/ 6710045 h 6715125"/>
              <a:gd name="connsiteX4" fmla="*/ 6066790 w 6968490"/>
              <a:gd name="connsiteY4" fmla="*/ 6715125 h 6715125"/>
              <a:gd name="connsiteX5" fmla="*/ 5605054 w 6968490"/>
              <a:gd name="connsiteY5" fmla="*/ 6682649 h 6715125"/>
              <a:gd name="connsiteX6" fmla="*/ 5351599 w 6968490"/>
              <a:gd name="connsiteY6" fmla="*/ 6644458 h 6715125"/>
              <a:gd name="connsiteX7" fmla="*/ 4892040 w 6968490"/>
              <a:gd name="connsiteY7" fmla="*/ 6572250 h 6715125"/>
              <a:gd name="connsiteX8" fmla="*/ 4472940 w 6968490"/>
              <a:gd name="connsiteY8" fmla="*/ 6473825 h 6715125"/>
              <a:gd name="connsiteX9" fmla="*/ 3796665 w 6968490"/>
              <a:gd name="connsiteY9" fmla="*/ 6137275 h 6715125"/>
              <a:gd name="connsiteX10" fmla="*/ 3412490 w 6968490"/>
              <a:gd name="connsiteY10" fmla="*/ 5883275 h 6715125"/>
              <a:gd name="connsiteX11" fmla="*/ 3114040 w 6968490"/>
              <a:gd name="connsiteY11" fmla="*/ 5597525 h 6715125"/>
              <a:gd name="connsiteX12" fmla="*/ 2912745 w 6968490"/>
              <a:gd name="connsiteY12" fmla="*/ 5087620 h 6715125"/>
              <a:gd name="connsiteX13" fmla="*/ 2832709 w 6968490"/>
              <a:gd name="connsiteY13" fmla="*/ 4782820 h 6715125"/>
              <a:gd name="connsiteX14" fmla="*/ 2809875 w 6968490"/>
              <a:gd name="connsiteY14" fmla="*/ 4358005 h 6715125"/>
              <a:gd name="connsiteX15" fmla="*/ 2911475 w 6968490"/>
              <a:gd name="connsiteY15" fmla="*/ 3862705 h 6715125"/>
              <a:gd name="connsiteX16" fmla="*/ 2975610 w 6968490"/>
              <a:gd name="connsiteY16" fmla="*/ 3527426 h 6715125"/>
              <a:gd name="connsiteX17" fmla="*/ 3119120 w 6968490"/>
              <a:gd name="connsiteY17" fmla="*/ 2698750 h 6715125"/>
              <a:gd name="connsiteX18" fmla="*/ 3082290 w 6968490"/>
              <a:gd name="connsiteY18" fmla="*/ 1995806 h 6715125"/>
              <a:gd name="connsiteX19" fmla="*/ 2998470 w 6968490"/>
              <a:gd name="connsiteY19" fmla="*/ 1538606 h 6715125"/>
              <a:gd name="connsiteX20" fmla="*/ 2860675 w 6968490"/>
              <a:gd name="connsiteY20" fmla="*/ 1342390 h 6715125"/>
              <a:gd name="connsiteX21" fmla="*/ 2446655 w 6968490"/>
              <a:gd name="connsiteY21" fmla="*/ 782955 h 6715125"/>
              <a:gd name="connsiteX22" fmla="*/ 1745615 w 6968490"/>
              <a:gd name="connsiteY22" fmla="*/ 339725 h 6715125"/>
              <a:gd name="connsiteX23" fmla="*/ 554990 w 6968490"/>
              <a:gd name="connsiteY23" fmla="*/ 92075 h 6715125"/>
              <a:gd name="connsiteX24" fmla="*/ 0 w 6968490"/>
              <a:gd name="connsiteY24" fmla="*/ 45085 h 6715125"/>
              <a:gd name="connsiteX25" fmla="*/ 214604 w 6968490"/>
              <a:gd name="connsiteY25" fmla="*/ 0 h 6715125"/>
              <a:gd name="connsiteX0" fmla="*/ 214604 w 6968490"/>
              <a:gd name="connsiteY0" fmla="*/ 0 h 6715125"/>
              <a:gd name="connsiteX1" fmla="*/ 6961596 w 6968490"/>
              <a:gd name="connsiteY1" fmla="*/ 3175 h 6715125"/>
              <a:gd name="connsiteX2" fmla="*/ 6968490 w 6968490"/>
              <a:gd name="connsiteY2" fmla="*/ 6702425 h 6715125"/>
              <a:gd name="connsiteX3" fmla="*/ 6451872 w 6968490"/>
              <a:gd name="connsiteY3" fmla="*/ 6710045 h 6715125"/>
              <a:gd name="connsiteX4" fmla="*/ 6066790 w 6968490"/>
              <a:gd name="connsiteY4" fmla="*/ 6715125 h 6715125"/>
              <a:gd name="connsiteX5" fmla="*/ 5605054 w 6968490"/>
              <a:gd name="connsiteY5" fmla="*/ 6682649 h 6715125"/>
              <a:gd name="connsiteX6" fmla="*/ 5351599 w 6968490"/>
              <a:gd name="connsiteY6" fmla="*/ 6644458 h 6715125"/>
              <a:gd name="connsiteX7" fmla="*/ 4892040 w 6968490"/>
              <a:gd name="connsiteY7" fmla="*/ 6572250 h 6715125"/>
              <a:gd name="connsiteX8" fmla="*/ 4472940 w 6968490"/>
              <a:gd name="connsiteY8" fmla="*/ 6473825 h 6715125"/>
              <a:gd name="connsiteX9" fmla="*/ 3796665 w 6968490"/>
              <a:gd name="connsiteY9" fmla="*/ 6137275 h 6715125"/>
              <a:gd name="connsiteX10" fmla="*/ 3412490 w 6968490"/>
              <a:gd name="connsiteY10" fmla="*/ 5883275 h 6715125"/>
              <a:gd name="connsiteX11" fmla="*/ 3114040 w 6968490"/>
              <a:gd name="connsiteY11" fmla="*/ 5597525 h 6715125"/>
              <a:gd name="connsiteX12" fmla="*/ 2912745 w 6968490"/>
              <a:gd name="connsiteY12" fmla="*/ 5087620 h 6715125"/>
              <a:gd name="connsiteX13" fmla="*/ 2832709 w 6968490"/>
              <a:gd name="connsiteY13" fmla="*/ 4782820 h 6715125"/>
              <a:gd name="connsiteX14" fmla="*/ 2809875 w 6968490"/>
              <a:gd name="connsiteY14" fmla="*/ 4358005 h 6715125"/>
              <a:gd name="connsiteX15" fmla="*/ 2911475 w 6968490"/>
              <a:gd name="connsiteY15" fmla="*/ 3862705 h 6715125"/>
              <a:gd name="connsiteX16" fmla="*/ 2975610 w 6968490"/>
              <a:gd name="connsiteY16" fmla="*/ 3527426 h 6715125"/>
              <a:gd name="connsiteX17" fmla="*/ 3119120 w 6968490"/>
              <a:gd name="connsiteY17" fmla="*/ 2698750 h 6715125"/>
              <a:gd name="connsiteX18" fmla="*/ 3082290 w 6968490"/>
              <a:gd name="connsiteY18" fmla="*/ 1995806 h 6715125"/>
              <a:gd name="connsiteX19" fmla="*/ 2998470 w 6968490"/>
              <a:gd name="connsiteY19" fmla="*/ 1538606 h 6715125"/>
              <a:gd name="connsiteX20" fmla="*/ 2860675 w 6968490"/>
              <a:gd name="connsiteY20" fmla="*/ 1342390 h 6715125"/>
              <a:gd name="connsiteX21" fmla="*/ 2446655 w 6968490"/>
              <a:gd name="connsiteY21" fmla="*/ 782955 h 6715125"/>
              <a:gd name="connsiteX22" fmla="*/ 1745615 w 6968490"/>
              <a:gd name="connsiteY22" fmla="*/ 339725 h 6715125"/>
              <a:gd name="connsiteX23" fmla="*/ 554990 w 6968490"/>
              <a:gd name="connsiteY23" fmla="*/ 92075 h 6715125"/>
              <a:gd name="connsiteX24" fmla="*/ 0 w 6968490"/>
              <a:gd name="connsiteY24" fmla="*/ 45085 h 6715125"/>
              <a:gd name="connsiteX25" fmla="*/ 214604 w 6968490"/>
              <a:gd name="connsiteY25" fmla="*/ 0 h 6715125"/>
              <a:gd name="connsiteX0" fmla="*/ 214604 w 6968490"/>
              <a:gd name="connsiteY0" fmla="*/ 0 h 6717665"/>
              <a:gd name="connsiteX1" fmla="*/ 6961596 w 6968490"/>
              <a:gd name="connsiteY1" fmla="*/ 3175 h 6717665"/>
              <a:gd name="connsiteX2" fmla="*/ 6968490 w 6968490"/>
              <a:gd name="connsiteY2" fmla="*/ 6702425 h 6717665"/>
              <a:gd name="connsiteX3" fmla="*/ 6451872 w 6968490"/>
              <a:gd name="connsiteY3" fmla="*/ 6717665 h 6717665"/>
              <a:gd name="connsiteX4" fmla="*/ 6066790 w 6968490"/>
              <a:gd name="connsiteY4" fmla="*/ 6715125 h 6717665"/>
              <a:gd name="connsiteX5" fmla="*/ 5605054 w 6968490"/>
              <a:gd name="connsiteY5" fmla="*/ 6682649 h 6717665"/>
              <a:gd name="connsiteX6" fmla="*/ 5351599 w 6968490"/>
              <a:gd name="connsiteY6" fmla="*/ 6644458 h 6717665"/>
              <a:gd name="connsiteX7" fmla="*/ 4892040 w 6968490"/>
              <a:gd name="connsiteY7" fmla="*/ 6572250 h 6717665"/>
              <a:gd name="connsiteX8" fmla="*/ 4472940 w 6968490"/>
              <a:gd name="connsiteY8" fmla="*/ 6473825 h 6717665"/>
              <a:gd name="connsiteX9" fmla="*/ 3796665 w 6968490"/>
              <a:gd name="connsiteY9" fmla="*/ 6137275 h 6717665"/>
              <a:gd name="connsiteX10" fmla="*/ 3412490 w 6968490"/>
              <a:gd name="connsiteY10" fmla="*/ 5883275 h 6717665"/>
              <a:gd name="connsiteX11" fmla="*/ 3114040 w 6968490"/>
              <a:gd name="connsiteY11" fmla="*/ 5597525 h 6717665"/>
              <a:gd name="connsiteX12" fmla="*/ 2912745 w 6968490"/>
              <a:gd name="connsiteY12" fmla="*/ 5087620 h 6717665"/>
              <a:gd name="connsiteX13" fmla="*/ 2832709 w 6968490"/>
              <a:gd name="connsiteY13" fmla="*/ 4782820 h 6717665"/>
              <a:gd name="connsiteX14" fmla="*/ 2809875 w 6968490"/>
              <a:gd name="connsiteY14" fmla="*/ 4358005 h 6717665"/>
              <a:gd name="connsiteX15" fmla="*/ 2911475 w 6968490"/>
              <a:gd name="connsiteY15" fmla="*/ 3862705 h 6717665"/>
              <a:gd name="connsiteX16" fmla="*/ 2975610 w 6968490"/>
              <a:gd name="connsiteY16" fmla="*/ 3527426 h 6717665"/>
              <a:gd name="connsiteX17" fmla="*/ 3119120 w 6968490"/>
              <a:gd name="connsiteY17" fmla="*/ 2698750 h 6717665"/>
              <a:gd name="connsiteX18" fmla="*/ 3082290 w 6968490"/>
              <a:gd name="connsiteY18" fmla="*/ 1995806 h 6717665"/>
              <a:gd name="connsiteX19" fmla="*/ 2998470 w 6968490"/>
              <a:gd name="connsiteY19" fmla="*/ 1538606 h 6717665"/>
              <a:gd name="connsiteX20" fmla="*/ 2860675 w 6968490"/>
              <a:gd name="connsiteY20" fmla="*/ 1342390 h 6717665"/>
              <a:gd name="connsiteX21" fmla="*/ 2446655 w 6968490"/>
              <a:gd name="connsiteY21" fmla="*/ 782955 h 6717665"/>
              <a:gd name="connsiteX22" fmla="*/ 1745615 w 6968490"/>
              <a:gd name="connsiteY22" fmla="*/ 339725 h 6717665"/>
              <a:gd name="connsiteX23" fmla="*/ 554990 w 6968490"/>
              <a:gd name="connsiteY23" fmla="*/ 92075 h 6717665"/>
              <a:gd name="connsiteX24" fmla="*/ 0 w 6968490"/>
              <a:gd name="connsiteY24" fmla="*/ 45085 h 6717665"/>
              <a:gd name="connsiteX25" fmla="*/ 214604 w 6968490"/>
              <a:gd name="connsiteY25" fmla="*/ 0 h 6717665"/>
              <a:gd name="connsiteX0" fmla="*/ 214604 w 6977214"/>
              <a:gd name="connsiteY0" fmla="*/ 0 h 6717665"/>
              <a:gd name="connsiteX1" fmla="*/ 6961596 w 6977214"/>
              <a:gd name="connsiteY1" fmla="*/ 3175 h 6717665"/>
              <a:gd name="connsiteX2" fmla="*/ 6977199 w 6977214"/>
              <a:gd name="connsiteY2" fmla="*/ 83186 h 6717665"/>
              <a:gd name="connsiteX3" fmla="*/ 6968490 w 6977214"/>
              <a:gd name="connsiteY3" fmla="*/ 6702425 h 6717665"/>
              <a:gd name="connsiteX4" fmla="*/ 6451872 w 6977214"/>
              <a:gd name="connsiteY4" fmla="*/ 6717665 h 6717665"/>
              <a:gd name="connsiteX5" fmla="*/ 6066790 w 6977214"/>
              <a:gd name="connsiteY5" fmla="*/ 6715125 h 6717665"/>
              <a:gd name="connsiteX6" fmla="*/ 5605054 w 6977214"/>
              <a:gd name="connsiteY6" fmla="*/ 6682649 h 6717665"/>
              <a:gd name="connsiteX7" fmla="*/ 5351599 w 6977214"/>
              <a:gd name="connsiteY7" fmla="*/ 6644458 h 6717665"/>
              <a:gd name="connsiteX8" fmla="*/ 4892040 w 6977214"/>
              <a:gd name="connsiteY8" fmla="*/ 6572250 h 6717665"/>
              <a:gd name="connsiteX9" fmla="*/ 4472940 w 6977214"/>
              <a:gd name="connsiteY9" fmla="*/ 6473825 h 6717665"/>
              <a:gd name="connsiteX10" fmla="*/ 3796665 w 6977214"/>
              <a:gd name="connsiteY10" fmla="*/ 6137275 h 6717665"/>
              <a:gd name="connsiteX11" fmla="*/ 3412490 w 6977214"/>
              <a:gd name="connsiteY11" fmla="*/ 5883275 h 6717665"/>
              <a:gd name="connsiteX12" fmla="*/ 3114040 w 6977214"/>
              <a:gd name="connsiteY12" fmla="*/ 5597525 h 6717665"/>
              <a:gd name="connsiteX13" fmla="*/ 2912745 w 6977214"/>
              <a:gd name="connsiteY13" fmla="*/ 5087620 h 6717665"/>
              <a:gd name="connsiteX14" fmla="*/ 2832709 w 6977214"/>
              <a:gd name="connsiteY14" fmla="*/ 4782820 h 6717665"/>
              <a:gd name="connsiteX15" fmla="*/ 2809875 w 6977214"/>
              <a:gd name="connsiteY15" fmla="*/ 4358005 h 6717665"/>
              <a:gd name="connsiteX16" fmla="*/ 2911475 w 6977214"/>
              <a:gd name="connsiteY16" fmla="*/ 3862705 h 6717665"/>
              <a:gd name="connsiteX17" fmla="*/ 2975610 w 6977214"/>
              <a:gd name="connsiteY17" fmla="*/ 3527426 h 6717665"/>
              <a:gd name="connsiteX18" fmla="*/ 3119120 w 6977214"/>
              <a:gd name="connsiteY18" fmla="*/ 2698750 h 6717665"/>
              <a:gd name="connsiteX19" fmla="*/ 3082290 w 6977214"/>
              <a:gd name="connsiteY19" fmla="*/ 1995806 h 6717665"/>
              <a:gd name="connsiteX20" fmla="*/ 2998470 w 6977214"/>
              <a:gd name="connsiteY20" fmla="*/ 1538606 h 6717665"/>
              <a:gd name="connsiteX21" fmla="*/ 2860675 w 6977214"/>
              <a:gd name="connsiteY21" fmla="*/ 1342390 h 6717665"/>
              <a:gd name="connsiteX22" fmla="*/ 2446655 w 6977214"/>
              <a:gd name="connsiteY22" fmla="*/ 782955 h 6717665"/>
              <a:gd name="connsiteX23" fmla="*/ 1745615 w 6977214"/>
              <a:gd name="connsiteY23" fmla="*/ 339725 h 6717665"/>
              <a:gd name="connsiteX24" fmla="*/ 554990 w 6977214"/>
              <a:gd name="connsiteY24" fmla="*/ 92075 h 6717665"/>
              <a:gd name="connsiteX25" fmla="*/ 0 w 6977214"/>
              <a:gd name="connsiteY25" fmla="*/ 45085 h 6717665"/>
              <a:gd name="connsiteX26" fmla="*/ 214604 w 6977214"/>
              <a:gd name="connsiteY26" fmla="*/ 0 h 6717665"/>
              <a:gd name="connsiteX0" fmla="*/ 214604 w 6977214"/>
              <a:gd name="connsiteY0" fmla="*/ 0 h 6717665"/>
              <a:gd name="connsiteX1" fmla="*/ 6961596 w 6977214"/>
              <a:gd name="connsiteY1" fmla="*/ 3175 h 6717665"/>
              <a:gd name="connsiteX2" fmla="*/ 6977199 w 6977214"/>
              <a:gd name="connsiteY2" fmla="*/ 83186 h 6717665"/>
              <a:gd name="connsiteX3" fmla="*/ 6968490 w 6977214"/>
              <a:gd name="connsiteY3" fmla="*/ 6702425 h 6717665"/>
              <a:gd name="connsiteX4" fmla="*/ 6451872 w 6977214"/>
              <a:gd name="connsiteY4" fmla="*/ 6717665 h 6717665"/>
              <a:gd name="connsiteX5" fmla="*/ 6066790 w 6977214"/>
              <a:gd name="connsiteY5" fmla="*/ 6715125 h 6717665"/>
              <a:gd name="connsiteX6" fmla="*/ 5605054 w 6977214"/>
              <a:gd name="connsiteY6" fmla="*/ 6682649 h 6717665"/>
              <a:gd name="connsiteX7" fmla="*/ 5351599 w 6977214"/>
              <a:gd name="connsiteY7" fmla="*/ 6644458 h 6717665"/>
              <a:gd name="connsiteX8" fmla="*/ 4892040 w 6977214"/>
              <a:gd name="connsiteY8" fmla="*/ 6572250 h 6717665"/>
              <a:gd name="connsiteX9" fmla="*/ 4472940 w 6977214"/>
              <a:gd name="connsiteY9" fmla="*/ 6473825 h 6717665"/>
              <a:gd name="connsiteX10" fmla="*/ 3796665 w 6977214"/>
              <a:gd name="connsiteY10" fmla="*/ 6137275 h 6717665"/>
              <a:gd name="connsiteX11" fmla="*/ 3412490 w 6977214"/>
              <a:gd name="connsiteY11" fmla="*/ 5883275 h 6717665"/>
              <a:gd name="connsiteX12" fmla="*/ 3114040 w 6977214"/>
              <a:gd name="connsiteY12" fmla="*/ 5597525 h 6717665"/>
              <a:gd name="connsiteX13" fmla="*/ 2877911 w 6977214"/>
              <a:gd name="connsiteY13" fmla="*/ 5061494 h 6717665"/>
              <a:gd name="connsiteX14" fmla="*/ 2832709 w 6977214"/>
              <a:gd name="connsiteY14" fmla="*/ 4782820 h 6717665"/>
              <a:gd name="connsiteX15" fmla="*/ 2809875 w 6977214"/>
              <a:gd name="connsiteY15" fmla="*/ 4358005 h 6717665"/>
              <a:gd name="connsiteX16" fmla="*/ 2911475 w 6977214"/>
              <a:gd name="connsiteY16" fmla="*/ 3862705 h 6717665"/>
              <a:gd name="connsiteX17" fmla="*/ 2975610 w 6977214"/>
              <a:gd name="connsiteY17" fmla="*/ 3527426 h 6717665"/>
              <a:gd name="connsiteX18" fmla="*/ 3119120 w 6977214"/>
              <a:gd name="connsiteY18" fmla="*/ 2698750 h 6717665"/>
              <a:gd name="connsiteX19" fmla="*/ 3082290 w 6977214"/>
              <a:gd name="connsiteY19" fmla="*/ 1995806 h 6717665"/>
              <a:gd name="connsiteX20" fmla="*/ 2998470 w 6977214"/>
              <a:gd name="connsiteY20" fmla="*/ 1538606 h 6717665"/>
              <a:gd name="connsiteX21" fmla="*/ 2860675 w 6977214"/>
              <a:gd name="connsiteY21" fmla="*/ 1342390 h 6717665"/>
              <a:gd name="connsiteX22" fmla="*/ 2446655 w 6977214"/>
              <a:gd name="connsiteY22" fmla="*/ 782955 h 6717665"/>
              <a:gd name="connsiteX23" fmla="*/ 1745615 w 6977214"/>
              <a:gd name="connsiteY23" fmla="*/ 339725 h 6717665"/>
              <a:gd name="connsiteX24" fmla="*/ 554990 w 6977214"/>
              <a:gd name="connsiteY24" fmla="*/ 92075 h 6717665"/>
              <a:gd name="connsiteX25" fmla="*/ 0 w 6977214"/>
              <a:gd name="connsiteY25" fmla="*/ 45085 h 6717665"/>
              <a:gd name="connsiteX26" fmla="*/ 214604 w 6977214"/>
              <a:gd name="connsiteY26" fmla="*/ 0 h 6717665"/>
              <a:gd name="connsiteX0" fmla="*/ 214604 w 6977214"/>
              <a:gd name="connsiteY0" fmla="*/ 0 h 6717665"/>
              <a:gd name="connsiteX1" fmla="*/ 6961596 w 6977214"/>
              <a:gd name="connsiteY1" fmla="*/ 3175 h 6717665"/>
              <a:gd name="connsiteX2" fmla="*/ 6977199 w 6977214"/>
              <a:gd name="connsiteY2" fmla="*/ 83186 h 6717665"/>
              <a:gd name="connsiteX3" fmla="*/ 6968490 w 6977214"/>
              <a:gd name="connsiteY3" fmla="*/ 6702425 h 6717665"/>
              <a:gd name="connsiteX4" fmla="*/ 6451872 w 6977214"/>
              <a:gd name="connsiteY4" fmla="*/ 6717665 h 6717665"/>
              <a:gd name="connsiteX5" fmla="*/ 6066790 w 6977214"/>
              <a:gd name="connsiteY5" fmla="*/ 6715125 h 6717665"/>
              <a:gd name="connsiteX6" fmla="*/ 5605054 w 6977214"/>
              <a:gd name="connsiteY6" fmla="*/ 6682649 h 6717665"/>
              <a:gd name="connsiteX7" fmla="*/ 5351599 w 6977214"/>
              <a:gd name="connsiteY7" fmla="*/ 6644458 h 6717665"/>
              <a:gd name="connsiteX8" fmla="*/ 4892040 w 6977214"/>
              <a:gd name="connsiteY8" fmla="*/ 6572250 h 6717665"/>
              <a:gd name="connsiteX9" fmla="*/ 4472940 w 6977214"/>
              <a:gd name="connsiteY9" fmla="*/ 6473825 h 6717665"/>
              <a:gd name="connsiteX10" fmla="*/ 3796665 w 6977214"/>
              <a:gd name="connsiteY10" fmla="*/ 6137275 h 6717665"/>
              <a:gd name="connsiteX11" fmla="*/ 3412490 w 6977214"/>
              <a:gd name="connsiteY11" fmla="*/ 5883275 h 6717665"/>
              <a:gd name="connsiteX12" fmla="*/ 3114040 w 6977214"/>
              <a:gd name="connsiteY12" fmla="*/ 5597525 h 6717665"/>
              <a:gd name="connsiteX13" fmla="*/ 2851785 w 6977214"/>
              <a:gd name="connsiteY13" fmla="*/ 5061494 h 6717665"/>
              <a:gd name="connsiteX14" fmla="*/ 2832709 w 6977214"/>
              <a:gd name="connsiteY14" fmla="*/ 4782820 h 6717665"/>
              <a:gd name="connsiteX15" fmla="*/ 2809875 w 6977214"/>
              <a:gd name="connsiteY15" fmla="*/ 4358005 h 6717665"/>
              <a:gd name="connsiteX16" fmla="*/ 2911475 w 6977214"/>
              <a:gd name="connsiteY16" fmla="*/ 3862705 h 6717665"/>
              <a:gd name="connsiteX17" fmla="*/ 2975610 w 6977214"/>
              <a:gd name="connsiteY17" fmla="*/ 3527426 h 6717665"/>
              <a:gd name="connsiteX18" fmla="*/ 3119120 w 6977214"/>
              <a:gd name="connsiteY18" fmla="*/ 2698750 h 6717665"/>
              <a:gd name="connsiteX19" fmla="*/ 3082290 w 6977214"/>
              <a:gd name="connsiteY19" fmla="*/ 1995806 h 6717665"/>
              <a:gd name="connsiteX20" fmla="*/ 2998470 w 6977214"/>
              <a:gd name="connsiteY20" fmla="*/ 1538606 h 6717665"/>
              <a:gd name="connsiteX21" fmla="*/ 2860675 w 6977214"/>
              <a:gd name="connsiteY21" fmla="*/ 1342390 h 6717665"/>
              <a:gd name="connsiteX22" fmla="*/ 2446655 w 6977214"/>
              <a:gd name="connsiteY22" fmla="*/ 782955 h 6717665"/>
              <a:gd name="connsiteX23" fmla="*/ 1745615 w 6977214"/>
              <a:gd name="connsiteY23" fmla="*/ 339725 h 6717665"/>
              <a:gd name="connsiteX24" fmla="*/ 554990 w 6977214"/>
              <a:gd name="connsiteY24" fmla="*/ 92075 h 6717665"/>
              <a:gd name="connsiteX25" fmla="*/ 0 w 6977214"/>
              <a:gd name="connsiteY25" fmla="*/ 45085 h 6717665"/>
              <a:gd name="connsiteX26" fmla="*/ 214604 w 6977214"/>
              <a:gd name="connsiteY26" fmla="*/ 0 h 6717665"/>
              <a:gd name="connsiteX0" fmla="*/ 214604 w 6977214"/>
              <a:gd name="connsiteY0" fmla="*/ 0 h 6717665"/>
              <a:gd name="connsiteX1" fmla="*/ 6961596 w 6977214"/>
              <a:gd name="connsiteY1" fmla="*/ 3175 h 6717665"/>
              <a:gd name="connsiteX2" fmla="*/ 6977199 w 6977214"/>
              <a:gd name="connsiteY2" fmla="*/ 83186 h 6717665"/>
              <a:gd name="connsiteX3" fmla="*/ 6968490 w 6977214"/>
              <a:gd name="connsiteY3" fmla="*/ 6702425 h 6717665"/>
              <a:gd name="connsiteX4" fmla="*/ 6451872 w 6977214"/>
              <a:gd name="connsiteY4" fmla="*/ 6717665 h 6717665"/>
              <a:gd name="connsiteX5" fmla="*/ 6066790 w 6977214"/>
              <a:gd name="connsiteY5" fmla="*/ 6715125 h 6717665"/>
              <a:gd name="connsiteX6" fmla="*/ 5605054 w 6977214"/>
              <a:gd name="connsiteY6" fmla="*/ 6682649 h 6717665"/>
              <a:gd name="connsiteX7" fmla="*/ 5351599 w 6977214"/>
              <a:gd name="connsiteY7" fmla="*/ 6644458 h 6717665"/>
              <a:gd name="connsiteX8" fmla="*/ 4892040 w 6977214"/>
              <a:gd name="connsiteY8" fmla="*/ 6572250 h 6717665"/>
              <a:gd name="connsiteX9" fmla="*/ 4472940 w 6977214"/>
              <a:gd name="connsiteY9" fmla="*/ 6473825 h 6717665"/>
              <a:gd name="connsiteX10" fmla="*/ 3796665 w 6977214"/>
              <a:gd name="connsiteY10" fmla="*/ 6137275 h 6717665"/>
              <a:gd name="connsiteX11" fmla="*/ 3412490 w 6977214"/>
              <a:gd name="connsiteY11" fmla="*/ 5883275 h 6717665"/>
              <a:gd name="connsiteX12" fmla="*/ 3114040 w 6977214"/>
              <a:gd name="connsiteY12" fmla="*/ 5597525 h 6717665"/>
              <a:gd name="connsiteX13" fmla="*/ 2851785 w 6977214"/>
              <a:gd name="connsiteY13" fmla="*/ 5061494 h 6717665"/>
              <a:gd name="connsiteX14" fmla="*/ 2815291 w 6977214"/>
              <a:gd name="connsiteY14" fmla="*/ 4782820 h 6717665"/>
              <a:gd name="connsiteX15" fmla="*/ 2809875 w 6977214"/>
              <a:gd name="connsiteY15" fmla="*/ 4358005 h 6717665"/>
              <a:gd name="connsiteX16" fmla="*/ 2911475 w 6977214"/>
              <a:gd name="connsiteY16" fmla="*/ 3862705 h 6717665"/>
              <a:gd name="connsiteX17" fmla="*/ 2975610 w 6977214"/>
              <a:gd name="connsiteY17" fmla="*/ 3527426 h 6717665"/>
              <a:gd name="connsiteX18" fmla="*/ 3119120 w 6977214"/>
              <a:gd name="connsiteY18" fmla="*/ 2698750 h 6717665"/>
              <a:gd name="connsiteX19" fmla="*/ 3082290 w 6977214"/>
              <a:gd name="connsiteY19" fmla="*/ 1995806 h 6717665"/>
              <a:gd name="connsiteX20" fmla="*/ 2998470 w 6977214"/>
              <a:gd name="connsiteY20" fmla="*/ 1538606 h 6717665"/>
              <a:gd name="connsiteX21" fmla="*/ 2860675 w 6977214"/>
              <a:gd name="connsiteY21" fmla="*/ 1342390 h 6717665"/>
              <a:gd name="connsiteX22" fmla="*/ 2446655 w 6977214"/>
              <a:gd name="connsiteY22" fmla="*/ 782955 h 6717665"/>
              <a:gd name="connsiteX23" fmla="*/ 1745615 w 6977214"/>
              <a:gd name="connsiteY23" fmla="*/ 339725 h 6717665"/>
              <a:gd name="connsiteX24" fmla="*/ 554990 w 6977214"/>
              <a:gd name="connsiteY24" fmla="*/ 92075 h 6717665"/>
              <a:gd name="connsiteX25" fmla="*/ 0 w 6977214"/>
              <a:gd name="connsiteY25" fmla="*/ 45085 h 6717665"/>
              <a:gd name="connsiteX26" fmla="*/ 214604 w 6977214"/>
              <a:gd name="connsiteY26" fmla="*/ 0 h 6717665"/>
              <a:gd name="connsiteX0" fmla="*/ 214604 w 6977214"/>
              <a:gd name="connsiteY0" fmla="*/ 0 h 6717665"/>
              <a:gd name="connsiteX1" fmla="*/ 6961596 w 6977214"/>
              <a:gd name="connsiteY1" fmla="*/ 3175 h 6717665"/>
              <a:gd name="connsiteX2" fmla="*/ 6977199 w 6977214"/>
              <a:gd name="connsiteY2" fmla="*/ 83186 h 6717665"/>
              <a:gd name="connsiteX3" fmla="*/ 6968490 w 6977214"/>
              <a:gd name="connsiteY3" fmla="*/ 6702425 h 6717665"/>
              <a:gd name="connsiteX4" fmla="*/ 6672399 w 6977214"/>
              <a:gd name="connsiteY4" fmla="*/ 6710409 h 6717665"/>
              <a:gd name="connsiteX5" fmla="*/ 6451872 w 6977214"/>
              <a:gd name="connsiteY5" fmla="*/ 6717665 h 6717665"/>
              <a:gd name="connsiteX6" fmla="*/ 6066790 w 6977214"/>
              <a:gd name="connsiteY6" fmla="*/ 6715125 h 6717665"/>
              <a:gd name="connsiteX7" fmla="*/ 5605054 w 6977214"/>
              <a:gd name="connsiteY7" fmla="*/ 6682649 h 6717665"/>
              <a:gd name="connsiteX8" fmla="*/ 5351599 w 6977214"/>
              <a:gd name="connsiteY8" fmla="*/ 6644458 h 6717665"/>
              <a:gd name="connsiteX9" fmla="*/ 4892040 w 6977214"/>
              <a:gd name="connsiteY9" fmla="*/ 6572250 h 6717665"/>
              <a:gd name="connsiteX10" fmla="*/ 4472940 w 6977214"/>
              <a:gd name="connsiteY10" fmla="*/ 6473825 h 6717665"/>
              <a:gd name="connsiteX11" fmla="*/ 3796665 w 6977214"/>
              <a:gd name="connsiteY11" fmla="*/ 6137275 h 6717665"/>
              <a:gd name="connsiteX12" fmla="*/ 3412490 w 6977214"/>
              <a:gd name="connsiteY12" fmla="*/ 5883275 h 6717665"/>
              <a:gd name="connsiteX13" fmla="*/ 3114040 w 6977214"/>
              <a:gd name="connsiteY13" fmla="*/ 5597525 h 6717665"/>
              <a:gd name="connsiteX14" fmla="*/ 2851785 w 6977214"/>
              <a:gd name="connsiteY14" fmla="*/ 5061494 h 6717665"/>
              <a:gd name="connsiteX15" fmla="*/ 2815291 w 6977214"/>
              <a:gd name="connsiteY15" fmla="*/ 4782820 h 6717665"/>
              <a:gd name="connsiteX16" fmla="*/ 2809875 w 6977214"/>
              <a:gd name="connsiteY16" fmla="*/ 4358005 h 6717665"/>
              <a:gd name="connsiteX17" fmla="*/ 2911475 w 6977214"/>
              <a:gd name="connsiteY17" fmla="*/ 3862705 h 6717665"/>
              <a:gd name="connsiteX18" fmla="*/ 2975610 w 6977214"/>
              <a:gd name="connsiteY18" fmla="*/ 3527426 h 6717665"/>
              <a:gd name="connsiteX19" fmla="*/ 3119120 w 6977214"/>
              <a:gd name="connsiteY19" fmla="*/ 2698750 h 6717665"/>
              <a:gd name="connsiteX20" fmla="*/ 3082290 w 6977214"/>
              <a:gd name="connsiteY20" fmla="*/ 1995806 h 6717665"/>
              <a:gd name="connsiteX21" fmla="*/ 2998470 w 6977214"/>
              <a:gd name="connsiteY21" fmla="*/ 1538606 h 6717665"/>
              <a:gd name="connsiteX22" fmla="*/ 2860675 w 6977214"/>
              <a:gd name="connsiteY22" fmla="*/ 1342390 h 6717665"/>
              <a:gd name="connsiteX23" fmla="*/ 2446655 w 6977214"/>
              <a:gd name="connsiteY23" fmla="*/ 782955 h 6717665"/>
              <a:gd name="connsiteX24" fmla="*/ 1745615 w 6977214"/>
              <a:gd name="connsiteY24" fmla="*/ 339725 h 6717665"/>
              <a:gd name="connsiteX25" fmla="*/ 554990 w 6977214"/>
              <a:gd name="connsiteY25" fmla="*/ 92075 h 6717665"/>
              <a:gd name="connsiteX26" fmla="*/ 0 w 6977214"/>
              <a:gd name="connsiteY26" fmla="*/ 45085 h 6717665"/>
              <a:gd name="connsiteX27" fmla="*/ 214604 w 6977214"/>
              <a:gd name="connsiteY27" fmla="*/ 0 h 6717665"/>
              <a:gd name="connsiteX0" fmla="*/ 214604 w 6977214"/>
              <a:gd name="connsiteY0" fmla="*/ 0 h 6719118"/>
              <a:gd name="connsiteX1" fmla="*/ 6961596 w 6977214"/>
              <a:gd name="connsiteY1" fmla="*/ 3175 h 6719118"/>
              <a:gd name="connsiteX2" fmla="*/ 6977199 w 6977214"/>
              <a:gd name="connsiteY2" fmla="*/ 83186 h 6719118"/>
              <a:gd name="connsiteX3" fmla="*/ 6968490 w 6977214"/>
              <a:gd name="connsiteY3" fmla="*/ 6702425 h 6719118"/>
              <a:gd name="connsiteX4" fmla="*/ 6689816 w 6977214"/>
              <a:gd name="connsiteY4" fmla="*/ 6719118 h 6719118"/>
              <a:gd name="connsiteX5" fmla="*/ 6451872 w 6977214"/>
              <a:gd name="connsiteY5" fmla="*/ 6717665 h 6719118"/>
              <a:gd name="connsiteX6" fmla="*/ 6066790 w 6977214"/>
              <a:gd name="connsiteY6" fmla="*/ 6715125 h 6719118"/>
              <a:gd name="connsiteX7" fmla="*/ 5605054 w 6977214"/>
              <a:gd name="connsiteY7" fmla="*/ 6682649 h 6719118"/>
              <a:gd name="connsiteX8" fmla="*/ 5351599 w 6977214"/>
              <a:gd name="connsiteY8" fmla="*/ 6644458 h 6719118"/>
              <a:gd name="connsiteX9" fmla="*/ 4892040 w 6977214"/>
              <a:gd name="connsiteY9" fmla="*/ 6572250 h 6719118"/>
              <a:gd name="connsiteX10" fmla="*/ 4472940 w 6977214"/>
              <a:gd name="connsiteY10" fmla="*/ 6473825 h 6719118"/>
              <a:gd name="connsiteX11" fmla="*/ 3796665 w 6977214"/>
              <a:gd name="connsiteY11" fmla="*/ 6137275 h 6719118"/>
              <a:gd name="connsiteX12" fmla="*/ 3412490 w 6977214"/>
              <a:gd name="connsiteY12" fmla="*/ 5883275 h 6719118"/>
              <a:gd name="connsiteX13" fmla="*/ 3114040 w 6977214"/>
              <a:gd name="connsiteY13" fmla="*/ 5597525 h 6719118"/>
              <a:gd name="connsiteX14" fmla="*/ 2851785 w 6977214"/>
              <a:gd name="connsiteY14" fmla="*/ 5061494 h 6719118"/>
              <a:gd name="connsiteX15" fmla="*/ 2815291 w 6977214"/>
              <a:gd name="connsiteY15" fmla="*/ 4782820 h 6719118"/>
              <a:gd name="connsiteX16" fmla="*/ 2809875 w 6977214"/>
              <a:gd name="connsiteY16" fmla="*/ 4358005 h 6719118"/>
              <a:gd name="connsiteX17" fmla="*/ 2911475 w 6977214"/>
              <a:gd name="connsiteY17" fmla="*/ 3862705 h 6719118"/>
              <a:gd name="connsiteX18" fmla="*/ 2975610 w 6977214"/>
              <a:gd name="connsiteY18" fmla="*/ 3527426 h 6719118"/>
              <a:gd name="connsiteX19" fmla="*/ 3119120 w 6977214"/>
              <a:gd name="connsiteY19" fmla="*/ 2698750 h 6719118"/>
              <a:gd name="connsiteX20" fmla="*/ 3082290 w 6977214"/>
              <a:gd name="connsiteY20" fmla="*/ 1995806 h 6719118"/>
              <a:gd name="connsiteX21" fmla="*/ 2998470 w 6977214"/>
              <a:gd name="connsiteY21" fmla="*/ 1538606 h 6719118"/>
              <a:gd name="connsiteX22" fmla="*/ 2860675 w 6977214"/>
              <a:gd name="connsiteY22" fmla="*/ 1342390 h 6719118"/>
              <a:gd name="connsiteX23" fmla="*/ 2446655 w 6977214"/>
              <a:gd name="connsiteY23" fmla="*/ 782955 h 6719118"/>
              <a:gd name="connsiteX24" fmla="*/ 1745615 w 6977214"/>
              <a:gd name="connsiteY24" fmla="*/ 339725 h 6719118"/>
              <a:gd name="connsiteX25" fmla="*/ 554990 w 6977214"/>
              <a:gd name="connsiteY25" fmla="*/ 92075 h 6719118"/>
              <a:gd name="connsiteX26" fmla="*/ 0 w 6977214"/>
              <a:gd name="connsiteY26" fmla="*/ 45085 h 6719118"/>
              <a:gd name="connsiteX27" fmla="*/ 214604 w 6977214"/>
              <a:gd name="connsiteY27" fmla="*/ 0 h 6719118"/>
              <a:gd name="connsiteX0" fmla="*/ 214604 w 6977214"/>
              <a:gd name="connsiteY0" fmla="*/ 0 h 6719118"/>
              <a:gd name="connsiteX1" fmla="*/ 6961596 w 6977214"/>
              <a:gd name="connsiteY1" fmla="*/ 3175 h 6719118"/>
              <a:gd name="connsiteX2" fmla="*/ 6977199 w 6977214"/>
              <a:gd name="connsiteY2" fmla="*/ 83186 h 6719118"/>
              <a:gd name="connsiteX3" fmla="*/ 6968490 w 6977214"/>
              <a:gd name="connsiteY3" fmla="*/ 6702425 h 6719118"/>
              <a:gd name="connsiteX4" fmla="*/ 6689816 w 6977214"/>
              <a:gd name="connsiteY4" fmla="*/ 6719118 h 6719118"/>
              <a:gd name="connsiteX5" fmla="*/ 6451872 w 6977214"/>
              <a:gd name="connsiteY5" fmla="*/ 6717665 h 6719118"/>
              <a:gd name="connsiteX6" fmla="*/ 6066790 w 6977214"/>
              <a:gd name="connsiteY6" fmla="*/ 6715125 h 6719118"/>
              <a:gd name="connsiteX7" fmla="*/ 5605054 w 6977214"/>
              <a:gd name="connsiteY7" fmla="*/ 6682649 h 6719118"/>
              <a:gd name="connsiteX8" fmla="*/ 5351599 w 6977214"/>
              <a:gd name="connsiteY8" fmla="*/ 6644458 h 6719118"/>
              <a:gd name="connsiteX9" fmla="*/ 4892040 w 6977214"/>
              <a:gd name="connsiteY9" fmla="*/ 6572250 h 6719118"/>
              <a:gd name="connsiteX10" fmla="*/ 4472940 w 6977214"/>
              <a:gd name="connsiteY10" fmla="*/ 6473825 h 6719118"/>
              <a:gd name="connsiteX11" fmla="*/ 3796665 w 6977214"/>
              <a:gd name="connsiteY11" fmla="*/ 6137275 h 6719118"/>
              <a:gd name="connsiteX12" fmla="*/ 3412490 w 6977214"/>
              <a:gd name="connsiteY12" fmla="*/ 5883275 h 6719118"/>
              <a:gd name="connsiteX13" fmla="*/ 3114040 w 6977214"/>
              <a:gd name="connsiteY13" fmla="*/ 5597525 h 6719118"/>
              <a:gd name="connsiteX14" fmla="*/ 2851785 w 6977214"/>
              <a:gd name="connsiteY14" fmla="*/ 5061494 h 6719118"/>
              <a:gd name="connsiteX15" fmla="*/ 2815291 w 6977214"/>
              <a:gd name="connsiteY15" fmla="*/ 4782820 h 6719118"/>
              <a:gd name="connsiteX16" fmla="*/ 2809875 w 6977214"/>
              <a:gd name="connsiteY16" fmla="*/ 4358005 h 6719118"/>
              <a:gd name="connsiteX17" fmla="*/ 2911475 w 6977214"/>
              <a:gd name="connsiteY17" fmla="*/ 3862705 h 6719118"/>
              <a:gd name="connsiteX18" fmla="*/ 2975610 w 6977214"/>
              <a:gd name="connsiteY18" fmla="*/ 3527426 h 6719118"/>
              <a:gd name="connsiteX19" fmla="*/ 3119120 w 6977214"/>
              <a:gd name="connsiteY19" fmla="*/ 2698750 h 6719118"/>
              <a:gd name="connsiteX20" fmla="*/ 3082290 w 6977214"/>
              <a:gd name="connsiteY20" fmla="*/ 1995806 h 6719118"/>
              <a:gd name="connsiteX21" fmla="*/ 2946218 w 6977214"/>
              <a:gd name="connsiteY21" fmla="*/ 1547314 h 6719118"/>
              <a:gd name="connsiteX22" fmla="*/ 2860675 w 6977214"/>
              <a:gd name="connsiteY22" fmla="*/ 1342390 h 6719118"/>
              <a:gd name="connsiteX23" fmla="*/ 2446655 w 6977214"/>
              <a:gd name="connsiteY23" fmla="*/ 782955 h 6719118"/>
              <a:gd name="connsiteX24" fmla="*/ 1745615 w 6977214"/>
              <a:gd name="connsiteY24" fmla="*/ 339725 h 6719118"/>
              <a:gd name="connsiteX25" fmla="*/ 554990 w 6977214"/>
              <a:gd name="connsiteY25" fmla="*/ 92075 h 6719118"/>
              <a:gd name="connsiteX26" fmla="*/ 0 w 6977214"/>
              <a:gd name="connsiteY26" fmla="*/ 45085 h 6719118"/>
              <a:gd name="connsiteX27" fmla="*/ 214604 w 6977214"/>
              <a:gd name="connsiteY27" fmla="*/ 0 h 6719118"/>
              <a:gd name="connsiteX0" fmla="*/ 214604 w 6977214"/>
              <a:gd name="connsiteY0" fmla="*/ 0 h 6719118"/>
              <a:gd name="connsiteX1" fmla="*/ 6961596 w 6977214"/>
              <a:gd name="connsiteY1" fmla="*/ 3175 h 6719118"/>
              <a:gd name="connsiteX2" fmla="*/ 6977199 w 6977214"/>
              <a:gd name="connsiteY2" fmla="*/ 83186 h 6719118"/>
              <a:gd name="connsiteX3" fmla="*/ 6968490 w 6977214"/>
              <a:gd name="connsiteY3" fmla="*/ 6702425 h 6719118"/>
              <a:gd name="connsiteX4" fmla="*/ 6689816 w 6977214"/>
              <a:gd name="connsiteY4" fmla="*/ 6719118 h 6719118"/>
              <a:gd name="connsiteX5" fmla="*/ 6451872 w 6977214"/>
              <a:gd name="connsiteY5" fmla="*/ 6717665 h 6719118"/>
              <a:gd name="connsiteX6" fmla="*/ 6066790 w 6977214"/>
              <a:gd name="connsiteY6" fmla="*/ 6715125 h 6719118"/>
              <a:gd name="connsiteX7" fmla="*/ 5605054 w 6977214"/>
              <a:gd name="connsiteY7" fmla="*/ 6682649 h 6719118"/>
              <a:gd name="connsiteX8" fmla="*/ 5351599 w 6977214"/>
              <a:gd name="connsiteY8" fmla="*/ 6644458 h 6719118"/>
              <a:gd name="connsiteX9" fmla="*/ 4892040 w 6977214"/>
              <a:gd name="connsiteY9" fmla="*/ 6572250 h 6719118"/>
              <a:gd name="connsiteX10" fmla="*/ 4472940 w 6977214"/>
              <a:gd name="connsiteY10" fmla="*/ 6473825 h 6719118"/>
              <a:gd name="connsiteX11" fmla="*/ 3796665 w 6977214"/>
              <a:gd name="connsiteY11" fmla="*/ 6137275 h 6719118"/>
              <a:gd name="connsiteX12" fmla="*/ 3412490 w 6977214"/>
              <a:gd name="connsiteY12" fmla="*/ 5883275 h 6719118"/>
              <a:gd name="connsiteX13" fmla="*/ 3114040 w 6977214"/>
              <a:gd name="connsiteY13" fmla="*/ 5597525 h 6719118"/>
              <a:gd name="connsiteX14" fmla="*/ 2851785 w 6977214"/>
              <a:gd name="connsiteY14" fmla="*/ 5061494 h 6719118"/>
              <a:gd name="connsiteX15" fmla="*/ 2815291 w 6977214"/>
              <a:gd name="connsiteY15" fmla="*/ 4782820 h 6719118"/>
              <a:gd name="connsiteX16" fmla="*/ 2809875 w 6977214"/>
              <a:gd name="connsiteY16" fmla="*/ 4358005 h 6719118"/>
              <a:gd name="connsiteX17" fmla="*/ 2911475 w 6977214"/>
              <a:gd name="connsiteY17" fmla="*/ 3862705 h 6719118"/>
              <a:gd name="connsiteX18" fmla="*/ 2975610 w 6977214"/>
              <a:gd name="connsiteY18" fmla="*/ 3527426 h 6719118"/>
              <a:gd name="connsiteX19" fmla="*/ 3084285 w 6977214"/>
              <a:gd name="connsiteY19" fmla="*/ 2698750 h 6719118"/>
              <a:gd name="connsiteX20" fmla="*/ 3082290 w 6977214"/>
              <a:gd name="connsiteY20" fmla="*/ 1995806 h 6719118"/>
              <a:gd name="connsiteX21" fmla="*/ 2946218 w 6977214"/>
              <a:gd name="connsiteY21" fmla="*/ 1547314 h 6719118"/>
              <a:gd name="connsiteX22" fmla="*/ 2860675 w 6977214"/>
              <a:gd name="connsiteY22" fmla="*/ 1342390 h 6719118"/>
              <a:gd name="connsiteX23" fmla="*/ 2446655 w 6977214"/>
              <a:gd name="connsiteY23" fmla="*/ 782955 h 6719118"/>
              <a:gd name="connsiteX24" fmla="*/ 1745615 w 6977214"/>
              <a:gd name="connsiteY24" fmla="*/ 339725 h 6719118"/>
              <a:gd name="connsiteX25" fmla="*/ 554990 w 6977214"/>
              <a:gd name="connsiteY25" fmla="*/ 92075 h 6719118"/>
              <a:gd name="connsiteX26" fmla="*/ 0 w 6977214"/>
              <a:gd name="connsiteY26" fmla="*/ 45085 h 6719118"/>
              <a:gd name="connsiteX27" fmla="*/ 214604 w 6977214"/>
              <a:gd name="connsiteY27" fmla="*/ 0 h 6719118"/>
              <a:gd name="connsiteX0" fmla="*/ 214604 w 6977214"/>
              <a:gd name="connsiteY0" fmla="*/ 0 h 6719118"/>
              <a:gd name="connsiteX1" fmla="*/ 6961596 w 6977214"/>
              <a:gd name="connsiteY1" fmla="*/ 3175 h 6719118"/>
              <a:gd name="connsiteX2" fmla="*/ 6977199 w 6977214"/>
              <a:gd name="connsiteY2" fmla="*/ 83186 h 6719118"/>
              <a:gd name="connsiteX3" fmla="*/ 6968490 w 6977214"/>
              <a:gd name="connsiteY3" fmla="*/ 6702425 h 6719118"/>
              <a:gd name="connsiteX4" fmla="*/ 6689816 w 6977214"/>
              <a:gd name="connsiteY4" fmla="*/ 6719118 h 6719118"/>
              <a:gd name="connsiteX5" fmla="*/ 6451872 w 6977214"/>
              <a:gd name="connsiteY5" fmla="*/ 6717665 h 6719118"/>
              <a:gd name="connsiteX6" fmla="*/ 6066790 w 6977214"/>
              <a:gd name="connsiteY6" fmla="*/ 6715125 h 6719118"/>
              <a:gd name="connsiteX7" fmla="*/ 5605054 w 6977214"/>
              <a:gd name="connsiteY7" fmla="*/ 6682649 h 6719118"/>
              <a:gd name="connsiteX8" fmla="*/ 5351599 w 6977214"/>
              <a:gd name="connsiteY8" fmla="*/ 6644458 h 6719118"/>
              <a:gd name="connsiteX9" fmla="*/ 4892040 w 6977214"/>
              <a:gd name="connsiteY9" fmla="*/ 6572250 h 6719118"/>
              <a:gd name="connsiteX10" fmla="*/ 4472940 w 6977214"/>
              <a:gd name="connsiteY10" fmla="*/ 6473825 h 6719118"/>
              <a:gd name="connsiteX11" fmla="*/ 3796665 w 6977214"/>
              <a:gd name="connsiteY11" fmla="*/ 6137275 h 6719118"/>
              <a:gd name="connsiteX12" fmla="*/ 3412490 w 6977214"/>
              <a:gd name="connsiteY12" fmla="*/ 5883275 h 6719118"/>
              <a:gd name="connsiteX13" fmla="*/ 3114040 w 6977214"/>
              <a:gd name="connsiteY13" fmla="*/ 5597525 h 6719118"/>
              <a:gd name="connsiteX14" fmla="*/ 2851785 w 6977214"/>
              <a:gd name="connsiteY14" fmla="*/ 5061494 h 6719118"/>
              <a:gd name="connsiteX15" fmla="*/ 2815291 w 6977214"/>
              <a:gd name="connsiteY15" fmla="*/ 4782820 h 6719118"/>
              <a:gd name="connsiteX16" fmla="*/ 2809875 w 6977214"/>
              <a:gd name="connsiteY16" fmla="*/ 4358005 h 6719118"/>
              <a:gd name="connsiteX17" fmla="*/ 2911475 w 6977214"/>
              <a:gd name="connsiteY17" fmla="*/ 3862705 h 6719118"/>
              <a:gd name="connsiteX18" fmla="*/ 2975610 w 6977214"/>
              <a:gd name="connsiteY18" fmla="*/ 3527426 h 6719118"/>
              <a:gd name="connsiteX19" fmla="*/ 3101702 w 6977214"/>
              <a:gd name="connsiteY19" fmla="*/ 2698750 h 6719118"/>
              <a:gd name="connsiteX20" fmla="*/ 3082290 w 6977214"/>
              <a:gd name="connsiteY20" fmla="*/ 1995806 h 6719118"/>
              <a:gd name="connsiteX21" fmla="*/ 2946218 w 6977214"/>
              <a:gd name="connsiteY21" fmla="*/ 1547314 h 6719118"/>
              <a:gd name="connsiteX22" fmla="*/ 2860675 w 6977214"/>
              <a:gd name="connsiteY22" fmla="*/ 1342390 h 6719118"/>
              <a:gd name="connsiteX23" fmla="*/ 2446655 w 6977214"/>
              <a:gd name="connsiteY23" fmla="*/ 782955 h 6719118"/>
              <a:gd name="connsiteX24" fmla="*/ 1745615 w 6977214"/>
              <a:gd name="connsiteY24" fmla="*/ 339725 h 6719118"/>
              <a:gd name="connsiteX25" fmla="*/ 554990 w 6977214"/>
              <a:gd name="connsiteY25" fmla="*/ 92075 h 6719118"/>
              <a:gd name="connsiteX26" fmla="*/ 0 w 6977214"/>
              <a:gd name="connsiteY26" fmla="*/ 45085 h 6719118"/>
              <a:gd name="connsiteX27" fmla="*/ 214604 w 6977214"/>
              <a:gd name="connsiteY27" fmla="*/ 0 h 6719118"/>
              <a:gd name="connsiteX0" fmla="*/ 214604 w 6977214"/>
              <a:gd name="connsiteY0" fmla="*/ 0 h 6719118"/>
              <a:gd name="connsiteX1" fmla="*/ 6961596 w 6977214"/>
              <a:gd name="connsiteY1" fmla="*/ 3175 h 6719118"/>
              <a:gd name="connsiteX2" fmla="*/ 6977199 w 6977214"/>
              <a:gd name="connsiteY2" fmla="*/ 83186 h 6719118"/>
              <a:gd name="connsiteX3" fmla="*/ 6968490 w 6977214"/>
              <a:gd name="connsiteY3" fmla="*/ 6702425 h 6719118"/>
              <a:gd name="connsiteX4" fmla="*/ 6689816 w 6977214"/>
              <a:gd name="connsiteY4" fmla="*/ 6719118 h 6719118"/>
              <a:gd name="connsiteX5" fmla="*/ 6451872 w 6977214"/>
              <a:gd name="connsiteY5" fmla="*/ 6717665 h 6719118"/>
              <a:gd name="connsiteX6" fmla="*/ 6066790 w 6977214"/>
              <a:gd name="connsiteY6" fmla="*/ 6715125 h 6719118"/>
              <a:gd name="connsiteX7" fmla="*/ 5605054 w 6977214"/>
              <a:gd name="connsiteY7" fmla="*/ 6682649 h 6719118"/>
              <a:gd name="connsiteX8" fmla="*/ 5351599 w 6977214"/>
              <a:gd name="connsiteY8" fmla="*/ 6644458 h 6719118"/>
              <a:gd name="connsiteX9" fmla="*/ 4892040 w 6977214"/>
              <a:gd name="connsiteY9" fmla="*/ 6572250 h 6719118"/>
              <a:gd name="connsiteX10" fmla="*/ 4472940 w 6977214"/>
              <a:gd name="connsiteY10" fmla="*/ 6473825 h 6719118"/>
              <a:gd name="connsiteX11" fmla="*/ 3796665 w 6977214"/>
              <a:gd name="connsiteY11" fmla="*/ 6137275 h 6719118"/>
              <a:gd name="connsiteX12" fmla="*/ 3412490 w 6977214"/>
              <a:gd name="connsiteY12" fmla="*/ 5883275 h 6719118"/>
              <a:gd name="connsiteX13" fmla="*/ 3114040 w 6977214"/>
              <a:gd name="connsiteY13" fmla="*/ 5597525 h 6719118"/>
              <a:gd name="connsiteX14" fmla="*/ 2851785 w 6977214"/>
              <a:gd name="connsiteY14" fmla="*/ 5061494 h 6719118"/>
              <a:gd name="connsiteX15" fmla="*/ 2815291 w 6977214"/>
              <a:gd name="connsiteY15" fmla="*/ 4782820 h 6719118"/>
              <a:gd name="connsiteX16" fmla="*/ 2809875 w 6977214"/>
              <a:gd name="connsiteY16" fmla="*/ 4358005 h 6719118"/>
              <a:gd name="connsiteX17" fmla="*/ 2911475 w 6977214"/>
              <a:gd name="connsiteY17" fmla="*/ 3862705 h 6719118"/>
              <a:gd name="connsiteX18" fmla="*/ 2975610 w 6977214"/>
              <a:gd name="connsiteY18" fmla="*/ 3527426 h 6719118"/>
              <a:gd name="connsiteX19" fmla="*/ 3058341 w 6977214"/>
              <a:gd name="connsiteY19" fmla="*/ 3105059 h 6719118"/>
              <a:gd name="connsiteX20" fmla="*/ 3101702 w 6977214"/>
              <a:gd name="connsiteY20" fmla="*/ 2698750 h 6719118"/>
              <a:gd name="connsiteX21" fmla="*/ 3082290 w 6977214"/>
              <a:gd name="connsiteY21" fmla="*/ 1995806 h 6719118"/>
              <a:gd name="connsiteX22" fmla="*/ 2946218 w 6977214"/>
              <a:gd name="connsiteY22" fmla="*/ 1547314 h 6719118"/>
              <a:gd name="connsiteX23" fmla="*/ 2860675 w 6977214"/>
              <a:gd name="connsiteY23" fmla="*/ 1342390 h 6719118"/>
              <a:gd name="connsiteX24" fmla="*/ 2446655 w 6977214"/>
              <a:gd name="connsiteY24" fmla="*/ 782955 h 6719118"/>
              <a:gd name="connsiteX25" fmla="*/ 1745615 w 6977214"/>
              <a:gd name="connsiteY25" fmla="*/ 339725 h 6719118"/>
              <a:gd name="connsiteX26" fmla="*/ 554990 w 6977214"/>
              <a:gd name="connsiteY26" fmla="*/ 92075 h 6719118"/>
              <a:gd name="connsiteX27" fmla="*/ 0 w 6977214"/>
              <a:gd name="connsiteY27" fmla="*/ 45085 h 6719118"/>
              <a:gd name="connsiteX28" fmla="*/ 214604 w 6977214"/>
              <a:gd name="connsiteY28" fmla="*/ 0 h 6719118"/>
              <a:gd name="connsiteX0" fmla="*/ 214604 w 6977214"/>
              <a:gd name="connsiteY0" fmla="*/ 0 h 6719118"/>
              <a:gd name="connsiteX1" fmla="*/ 6961596 w 6977214"/>
              <a:gd name="connsiteY1" fmla="*/ 3175 h 6719118"/>
              <a:gd name="connsiteX2" fmla="*/ 6977199 w 6977214"/>
              <a:gd name="connsiteY2" fmla="*/ 83186 h 6719118"/>
              <a:gd name="connsiteX3" fmla="*/ 6968490 w 6977214"/>
              <a:gd name="connsiteY3" fmla="*/ 6702425 h 6719118"/>
              <a:gd name="connsiteX4" fmla="*/ 6689816 w 6977214"/>
              <a:gd name="connsiteY4" fmla="*/ 6719118 h 6719118"/>
              <a:gd name="connsiteX5" fmla="*/ 6451872 w 6977214"/>
              <a:gd name="connsiteY5" fmla="*/ 6717665 h 6719118"/>
              <a:gd name="connsiteX6" fmla="*/ 6066790 w 6977214"/>
              <a:gd name="connsiteY6" fmla="*/ 6715125 h 6719118"/>
              <a:gd name="connsiteX7" fmla="*/ 5605054 w 6977214"/>
              <a:gd name="connsiteY7" fmla="*/ 6682649 h 6719118"/>
              <a:gd name="connsiteX8" fmla="*/ 5351599 w 6977214"/>
              <a:gd name="connsiteY8" fmla="*/ 6644458 h 6719118"/>
              <a:gd name="connsiteX9" fmla="*/ 4892040 w 6977214"/>
              <a:gd name="connsiteY9" fmla="*/ 6572250 h 6719118"/>
              <a:gd name="connsiteX10" fmla="*/ 4472940 w 6977214"/>
              <a:gd name="connsiteY10" fmla="*/ 6473825 h 6719118"/>
              <a:gd name="connsiteX11" fmla="*/ 3796665 w 6977214"/>
              <a:gd name="connsiteY11" fmla="*/ 6137275 h 6719118"/>
              <a:gd name="connsiteX12" fmla="*/ 3412490 w 6977214"/>
              <a:gd name="connsiteY12" fmla="*/ 5883275 h 6719118"/>
              <a:gd name="connsiteX13" fmla="*/ 3114040 w 6977214"/>
              <a:gd name="connsiteY13" fmla="*/ 5597525 h 6719118"/>
              <a:gd name="connsiteX14" fmla="*/ 2851785 w 6977214"/>
              <a:gd name="connsiteY14" fmla="*/ 5061494 h 6719118"/>
              <a:gd name="connsiteX15" fmla="*/ 2815291 w 6977214"/>
              <a:gd name="connsiteY15" fmla="*/ 4782820 h 6719118"/>
              <a:gd name="connsiteX16" fmla="*/ 2809875 w 6977214"/>
              <a:gd name="connsiteY16" fmla="*/ 4358005 h 6719118"/>
              <a:gd name="connsiteX17" fmla="*/ 2911475 w 6977214"/>
              <a:gd name="connsiteY17" fmla="*/ 3862705 h 6719118"/>
              <a:gd name="connsiteX18" fmla="*/ 2975610 w 6977214"/>
              <a:gd name="connsiteY18" fmla="*/ 3527426 h 6719118"/>
              <a:gd name="connsiteX19" fmla="*/ 3084467 w 6977214"/>
              <a:gd name="connsiteY19" fmla="*/ 3105059 h 6719118"/>
              <a:gd name="connsiteX20" fmla="*/ 3101702 w 6977214"/>
              <a:gd name="connsiteY20" fmla="*/ 2698750 h 6719118"/>
              <a:gd name="connsiteX21" fmla="*/ 3082290 w 6977214"/>
              <a:gd name="connsiteY21" fmla="*/ 1995806 h 6719118"/>
              <a:gd name="connsiteX22" fmla="*/ 2946218 w 6977214"/>
              <a:gd name="connsiteY22" fmla="*/ 1547314 h 6719118"/>
              <a:gd name="connsiteX23" fmla="*/ 2860675 w 6977214"/>
              <a:gd name="connsiteY23" fmla="*/ 1342390 h 6719118"/>
              <a:gd name="connsiteX24" fmla="*/ 2446655 w 6977214"/>
              <a:gd name="connsiteY24" fmla="*/ 782955 h 6719118"/>
              <a:gd name="connsiteX25" fmla="*/ 1745615 w 6977214"/>
              <a:gd name="connsiteY25" fmla="*/ 339725 h 6719118"/>
              <a:gd name="connsiteX26" fmla="*/ 554990 w 6977214"/>
              <a:gd name="connsiteY26" fmla="*/ 92075 h 6719118"/>
              <a:gd name="connsiteX27" fmla="*/ 0 w 6977214"/>
              <a:gd name="connsiteY27" fmla="*/ 45085 h 6719118"/>
              <a:gd name="connsiteX28" fmla="*/ 214604 w 6977214"/>
              <a:gd name="connsiteY28" fmla="*/ 0 h 6719118"/>
              <a:gd name="connsiteX0" fmla="*/ 214604 w 6977214"/>
              <a:gd name="connsiteY0" fmla="*/ 0 h 6719118"/>
              <a:gd name="connsiteX1" fmla="*/ 6961596 w 6977214"/>
              <a:gd name="connsiteY1" fmla="*/ 3175 h 6719118"/>
              <a:gd name="connsiteX2" fmla="*/ 6977199 w 6977214"/>
              <a:gd name="connsiteY2" fmla="*/ 83186 h 6719118"/>
              <a:gd name="connsiteX3" fmla="*/ 6968490 w 6977214"/>
              <a:gd name="connsiteY3" fmla="*/ 6702425 h 6719118"/>
              <a:gd name="connsiteX4" fmla="*/ 6689816 w 6977214"/>
              <a:gd name="connsiteY4" fmla="*/ 6719118 h 6719118"/>
              <a:gd name="connsiteX5" fmla="*/ 6451872 w 6977214"/>
              <a:gd name="connsiteY5" fmla="*/ 6717665 h 6719118"/>
              <a:gd name="connsiteX6" fmla="*/ 6066790 w 6977214"/>
              <a:gd name="connsiteY6" fmla="*/ 6715125 h 6719118"/>
              <a:gd name="connsiteX7" fmla="*/ 5605054 w 6977214"/>
              <a:gd name="connsiteY7" fmla="*/ 6682649 h 6719118"/>
              <a:gd name="connsiteX8" fmla="*/ 5351599 w 6977214"/>
              <a:gd name="connsiteY8" fmla="*/ 6644458 h 6719118"/>
              <a:gd name="connsiteX9" fmla="*/ 4892040 w 6977214"/>
              <a:gd name="connsiteY9" fmla="*/ 6572250 h 6719118"/>
              <a:gd name="connsiteX10" fmla="*/ 4472940 w 6977214"/>
              <a:gd name="connsiteY10" fmla="*/ 6473825 h 6719118"/>
              <a:gd name="connsiteX11" fmla="*/ 3796665 w 6977214"/>
              <a:gd name="connsiteY11" fmla="*/ 6137275 h 6719118"/>
              <a:gd name="connsiteX12" fmla="*/ 3412490 w 6977214"/>
              <a:gd name="connsiteY12" fmla="*/ 5883275 h 6719118"/>
              <a:gd name="connsiteX13" fmla="*/ 3114040 w 6977214"/>
              <a:gd name="connsiteY13" fmla="*/ 5597525 h 6719118"/>
              <a:gd name="connsiteX14" fmla="*/ 2851785 w 6977214"/>
              <a:gd name="connsiteY14" fmla="*/ 5061494 h 6719118"/>
              <a:gd name="connsiteX15" fmla="*/ 2815291 w 6977214"/>
              <a:gd name="connsiteY15" fmla="*/ 4782820 h 6719118"/>
              <a:gd name="connsiteX16" fmla="*/ 2809875 w 6977214"/>
              <a:gd name="connsiteY16" fmla="*/ 4358005 h 6719118"/>
              <a:gd name="connsiteX17" fmla="*/ 2911475 w 6977214"/>
              <a:gd name="connsiteY17" fmla="*/ 3862705 h 6719118"/>
              <a:gd name="connsiteX18" fmla="*/ 2975610 w 6977214"/>
              <a:gd name="connsiteY18" fmla="*/ 3527426 h 6719118"/>
              <a:gd name="connsiteX19" fmla="*/ 3084467 w 6977214"/>
              <a:gd name="connsiteY19" fmla="*/ 3105059 h 6719118"/>
              <a:gd name="connsiteX20" fmla="*/ 3101702 w 6977214"/>
              <a:gd name="connsiteY20" fmla="*/ 2698750 h 6719118"/>
              <a:gd name="connsiteX21" fmla="*/ 3084467 w 6977214"/>
              <a:gd name="connsiteY21" fmla="*/ 2347414 h 6719118"/>
              <a:gd name="connsiteX22" fmla="*/ 3082290 w 6977214"/>
              <a:gd name="connsiteY22" fmla="*/ 1995806 h 6719118"/>
              <a:gd name="connsiteX23" fmla="*/ 2946218 w 6977214"/>
              <a:gd name="connsiteY23" fmla="*/ 1547314 h 6719118"/>
              <a:gd name="connsiteX24" fmla="*/ 2860675 w 6977214"/>
              <a:gd name="connsiteY24" fmla="*/ 1342390 h 6719118"/>
              <a:gd name="connsiteX25" fmla="*/ 2446655 w 6977214"/>
              <a:gd name="connsiteY25" fmla="*/ 782955 h 6719118"/>
              <a:gd name="connsiteX26" fmla="*/ 1745615 w 6977214"/>
              <a:gd name="connsiteY26" fmla="*/ 339725 h 6719118"/>
              <a:gd name="connsiteX27" fmla="*/ 554990 w 6977214"/>
              <a:gd name="connsiteY27" fmla="*/ 92075 h 6719118"/>
              <a:gd name="connsiteX28" fmla="*/ 0 w 6977214"/>
              <a:gd name="connsiteY28" fmla="*/ 45085 h 6719118"/>
              <a:gd name="connsiteX29" fmla="*/ 214604 w 6977214"/>
              <a:gd name="connsiteY29" fmla="*/ 0 h 6719118"/>
              <a:gd name="connsiteX0" fmla="*/ 214604 w 6977214"/>
              <a:gd name="connsiteY0" fmla="*/ 0 h 6719118"/>
              <a:gd name="connsiteX1" fmla="*/ 6961596 w 6977214"/>
              <a:gd name="connsiteY1" fmla="*/ 3175 h 6719118"/>
              <a:gd name="connsiteX2" fmla="*/ 6977199 w 6977214"/>
              <a:gd name="connsiteY2" fmla="*/ 83186 h 6719118"/>
              <a:gd name="connsiteX3" fmla="*/ 6968490 w 6977214"/>
              <a:gd name="connsiteY3" fmla="*/ 6702425 h 6719118"/>
              <a:gd name="connsiteX4" fmla="*/ 6689816 w 6977214"/>
              <a:gd name="connsiteY4" fmla="*/ 6719118 h 6719118"/>
              <a:gd name="connsiteX5" fmla="*/ 6451872 w 6977214"/>
              <a:gd name="connsiteY5" fmla="*/ 6717665 h 6719118"/>
              <a:gd name="connsiteX6" fmla="*/ 6066790 w 6977214"/>
              <a:gd name="connsiteY6" fmla="*/ 6715125 h 6719118"/>
              <a:gd name="connsiteX7" fmla="*/ 5605054 w 6977214"/>
              <a:gd name="connsiteY7" fmla="*/ 6682649 h 6719118"/>
              <a:gd name="connsiteX8" fmla="*/ 5351599 w 6977214"/>
              <a:gd name="connsiteY8" fmla="*/ 6644458 h 6719118"/>
              <a:gd name="connsiteX9" fmla="*/ 4892040 w 6977214"/>
              <a:gd name="connsiteY9" fmla="*/ 6572250 h 6719118"/>
              <a:gd name="connsiteX10" fmla="*/ 4472940 w 6977214"/>
              <a:gd name="connsiteY10" fmla="*/ 6473825 h 6719118"/>
              <a:gd name="connsiteX11" fmla="*/ 3796665 w 6977214"/>
              <a:gd name="connsiteY11" fmla="*/ 6137275 h 6719118"/>
              <a:gd name="connsiteX12" fmla="*/ 3412490 w 6977214"/>
              <a:gd name="connsiteY12" fmla="*/ 5883275 h 6719118"/>
              <a:gd name="connsiteX13" fmla="*/ 3114040 w 6977214"/>
              <a:gd name="connsiteY13" fmla="*/ 5597525 h 6719118"/>
              <a:gd name="connsiteX14" fmla="*/ 2851785 w 6977214"/>
              <a:gd name="connsiteY14" fmla="*/ 5061494 h 6719118"/>
              <a:gd name="connsiteX15" fmla="*/ 2815291 w 6977214"/>
              <a:gd name="connsiteY15" fmla="*/ 4782820 h 6719118"/>
              <a:gd name="connsiteX16" fmla="*/ 2809875 w 6977214"/>
              <a:gd name="connsiteY16" fmla="*/ 4358005 h 6719118"/>
              <a:gd name="connsiteX17" fmla="*/ 2911475 w 6977214"/>
              <a:gd name="connsiteY17" fmla="*/ 3862705 h 6719118"/>
              <a:gd name="connsiteX18" fmla="*/ 2975610 w 6977214"/>
              <a:gd name="connsiteY18" fmla="*/ 3527426 h 6719118"/>
              <a:gd name="connsiteX19" fmla="*/ 3084467 w 6977214"/>
              <a:gd name="connsiteY19" fmla="*/ 3105059 h 6719118"/>
              <a:gd name="connsiteX20" fmla="*/ 3101702 w 6977214"/>
              <a:gd name="connsiteY20" fmla="*/ 2698750 h 6719118"/>
              <a:gd name="connsiteX21" fmla="*/ 3110593 w 6977214"/>
              <a:gd name="connsiteY21" fmla="*/ 2347414 h 6719118"/>
              <a:gd name="connsiteX22" fmla="*/ 3082290 w 6977214"/>
              <a:gd name="connsiteY22" fmla="*/ 1995806 h 6719118"/>
              <a:gd name="connsiteX23" fmla="*/ 2946218 w 6977214"/>
              <a:gd name="connsiteY23" fmla="*/ 1547314 h 6719118"/>
              <a:gd name="connsiteX24" fmla="*/ 2860675 w 6977214"/>
              <a:gd name="connsiteY24" fmla="*/ 1342390 h 6719118"/>
              <a:gd name="connsiteX25" fmla="*/ 2446655 w 6977214"/>
              <a:gd name="connsiteY25" fmla="*/ 782955 h 6719118"/>
              <a:gd name="connsiteX26" fmla="*/ 1745615 w 6977214"/>
              <a:gd name="connsiteY26" fmla="*/ 339725 h 6719118"/>
              <a:gd name="connsiteX27" fmla="*/ 554990 w 6977214"/>
              <a:gd name="connsiteY27" fmla="*/ 92075 h 6719118"/>
              <a:gd name="connsiteX28" fmla="*/ 0 w 6977214"/>
              <a:gd name="connsiteY28" fmla="*/ 45085 h 6719118"/>
              <a:gd name="connsiteX29" fmla="*/ 214604 w 6977214"/>
              <a:gd name="connsiteY29" fmla="*/ 0 h 6719118"/>
              <a:gd name="connsiteX0" fmla="*/ 214604 w 6977214"/>
              <a:gd name="connsiteY0" fmla="*/ 0 h 6719118"/>
              <a:gd name="connsiteX1" fmla="*/ 6961596 w 6977214"/>
              <a:gd name="connsiteY1" fmla="*/ 3175 h 6719118"/>
              <a:gd name="connsiteX2" fmla="*/ 6977199 w 6977214"/>
              <a:gd name="connsiteY2" fmla="*/ 83186 h 6719118"/>
              <a:gd name="connsiteX3" fmla="*/ 6968490 w 6977214"/>
              <a:gd name="connsiteY3" fmla="*/ 6702425 h 6719118"/>
              <a:gd name="connsiteX4" fmla="*/ 6689816 w 6977214"/>
              <a:gd name="connsiteY4" fmla="*/ 6719118 h 6719118"/>
              <a:gd name="connsiteX5" fmla="*/ 6451872 w 6977214"/>
              <a:gd name="connsiteY5" fmla="*/ 6717665 h 6719118"/>
              <a:gd name="connsiteX6" fmla="*/ 6066790 w 6977214"/>
              <a:gd name="connsiteY6" fmla="*/ 6715125 h 6719118"/>
              <a:gd name="connsiteX7" fmla="*/ 5605054 w 6977214"/>
              <a:gd name="connsiteY7" fmla="*/ 6682649 h 6719118"/>
              <a:gd name="connsiteX8" fmla="*/ 5351599 w 6977214"/>
              <a:gd name="connsiteY8" fmla="*/ 6644458 h 6719118"/>
              <a:gd name="connsiteX9" fmla="*/ 4892040 w 6977214"/>
              <a:gd name="connsiteY9" fmla="*/ 6572250 h 6719118"/>
              <a:gd name="connsiteX10" fmla="*/ 4472940 w 6977214"/>
              <a:gd name="connsiteY10" fmla="*/ 6473825 h 6719118"/>
              <a:gd name="connsiteX11" fmla="*/ 3796665 w 6977214"/>
              <a:gd name="connsiteY11" fmla="*/ 6137275 h 6719118"/>
              <a:gd name="connsiteX12" fmla="*/ 3412490 w 6977214"/>
              <a:gd name="connsiteY12" fmla="*/ 5883275 h 6719118"/>
              <a:gd name="connsiteX13" fmla="*/ 3114040 w 6977214"/>
              <a:gd name="connsiteY13" fmla="*/ 5597525 h 6719118"/>
              <a:gd name="connsiteX14" fmla="*/ 2851785 w 6977214"/>
              <a:gd name="connsiteY14" fmla="*/ 5061494 h 6719118"/>
              <a:gd name="connsiteX15" fmla="*/ 2815291 w 6977214"/>
              <a:gd name="connsiteY15" fmla="*/ 4782820 h 6719118"/>
              <a:gd name="connsiteX16" fmla="*/ 2809875 w 6977214"/>
              <a:gd name="connsiteY16" fmla="*/ 4358005 h 6719118"/>
              <a:gd name="connsiteX17" fmla="*/ 2911475 w 6977214"/>
              <a:gd name="connsiteY17" fmla="*/ 3862705 h 6719118"/>
              <a:gd name="connsiteX18" fmla="*/ 2975610 w 6977214"/>
              <a:gd name="connsiteY18" fmla="*/ 3527426 h 6719118"/>
              <a:gd name="connsiteX19" fmla="*/ 3084467 w 6977214"/>
              <a:gd name="connsiteY19" fmla="*/ 3105059 h 6719118"/>
              <a:gd name="connsiteX20" fmla="*/ 3101702 w 6977214"/>
              <a:gd name="connsiteY20" fmla="*/ 2698750 h 6719118"/>
              <a:gd name="connsiteX21" fmla="*/ 3110593 w 6977214"/>
              <a:gd name="connsiteY21" fmla="*/ 2347414 h 6719118"/>
              <a:gd name="connsiteX22" fmla="*/ 3064873 w 6977214"/>
              <a:gd name="connsiteY22" fmla="*/ 1978389 h 6719118"/>
              <a:gd name="connsiteX23" fmla="*/ 2946218 w 6977214"/>
              <a:gd name="connsiteY23" fmla="*/ 1547314 h 6719118"/>
              <a:gd name="connsiteX24" fmla="*/ 2860675 w 6977214"/>
              <a:gd name="connsiteY24" fmla="*/ 1342390 h 6719118"/>
              <a:gd name="connsiteX25" fmla="*/ 2446655 w 6977214"/>
              <a:gd name="connsiteY25" fmla="*/ 782955 h 6719118"/>
              <a:gd name="connsiteX26" fmla="*/ 1745615 w 6977214"/>
              <a:gd name="connsiteY26" fmla="*/ 339725 h 6719118"/>
              <a:gd name="connsiteX27" fmla="*/ 554990 w 6977214"/>
              <a:gd name="connsiteY27" fmla="*/ 92075 h 6719118"/>
              <a:gd name="connsiteX28" fmla="*/ 0 w 6977214"/>
              <a:gd name="connsiteY28" fmla="*/ 45085 h 6719118"/>
              <a:gd name="connsiteX29" fmla="*/ 214604 w 6977214"/>
              <a:gd name="connsiteY29" fmla="*/ 0 h 6719118"/>
              <a:gd name="connsiteX0" fmla="*/ 214604 w 6977214"/>
              <a:gd name="connsiteY0" fmla="*/ 0 h 6719118"/>
              <a:gd name="connsiteX1" fmla="*/ 6961596 w 6977214"/>
              <a:gd name="connsiteY1" fmla="*/ 3175 h 6719118"/>
              <a:gd name="connsiteX2" fmla="*/ 6977199 w 6977214"/>
              <a:gd name="connsiteY2" fmla="*/ 83186 h 6719118"/>
              <a:gd name="connsiteX3" fmla="*/ 6968490 w 6977214"/>
              <a:gd name="connsiteY3" fmla="*/ 6702425 h 6719118"/>
              <a:gd name="connsiteX4" fmla="*/ 6689816 w 6977214"/>
              <a:gd name="connsiteY4" fmla="*/ 6719118 h 6719118"/>
              <a:gd name="connsiteX5" fmla="*/ 6451872 w 6977214"/>
              <a:gd name="connsiteY5" fmla="*/ 6717665 h 6719118"/>
              <a:gd name="connsiteX6" fmla="*/ 6066790 w 6977214"/>
              <a:gd name="connsiteY6" fmla="*/ 6715125 h 6719118"/>
              <a:gd name="connsiteX7" fmla="*/ 5605054 w 6977214"/>
              <a:gd name="connsiteY7" fmla="*/ 6682649 h 6719118"/>
              <a:gd name="connsiteX8" fmla="*/ 5351599 w 6977214"/>
              <a:gd name="connsiteY8" fmla="*/ 6644458 h 6719118"/>
              <a:gd name="connsiteX9" fmla="*/ 4892040 w 6977214"/>
              <a:gd name="connsiteY9" fmla="*/ 6572250 h 6719118"/>
              <a:gd name="connsiteX10" fmla="*/ 4472940 w 6977214"/>
              <a:gd name="connsiteY10" fmla="*/ 6473825 h 6719118"/>
              <a:gd name="connsiteX11" fmla="*/ 3796665 w 6977214"/>
              <a:gd name="connsiteY11" fmla="*/ 6137275 h 6719118"/>
              <a:gd name="connsiteX12" fmla="*/ 3412490 w 6977214"/>
              <a:gd name="connsiteY12" fmla="*/ 5883275 h 6719118"/>
              <a:gd name="connsiteX13" fmla="*/ 3114040 w 6977214"/>
              <a:gd name="connsiteY13" fmla="*/ 5597525 h 6719118"/>
              <a:gd name="connsiteX14" fmla="*/ 2851785 w 6977214"/>
              <a:gd name="connsiteY14" fmla="*/ 5061494 h 6719118"/>
              <a:gd name="connsiteX15" fmla="*/ 2815291 w 6977214"/>
              <a:gd name="connsiteY15" fmla="*/ 4782820 h 6719118"/>
              <a:gd name="connsiteX16" fmla="*/ 2809875 w 6977214"/>
              <a:gd name="connsiteY16" fmla="*/ 4358005 h 6719118"/>
              <a:gd name="connsiteX17" fmla="*/ 2911475 w 6977214"/>
              <a:gd name="connsiteY17" fmla="*/ 3862705 h 6719118"/>
              <a:gd name="connsiteX18" fmla="*/ 2975610 w 6977214"/>
              <a:gd name="connsiteY18" fmla="*/ 3527426 h 6719118"/>
              <a:gd name="connsiteX19" fmla="*/ 3084467 w 6977214"/>
              <a:gd name="connsiteY19" fmla="*/ 3105059 h 6719118"/>
              <a:gd name="connsiteX20" fmla="*/ 3101702 w 6977214"/>
              <a:gd name="connsiteY20" fmla="*/ 2698750 h 6719118"/>
              <a:gd name="connsiteX21" fmla="*/ 3110593 w 6977214"/>
              <a:gd name="connsiteY21" fmla="*/ 2347414 h 6719118"/>
              <a:gd name="connsiteX22" fmla="*/ 3064873 w 6977214"/>
              <a:gd name="connsiteY22" fmla="*/ 1978389 h 6719118"/>
              <a:gd name="connsiteX23" fmla="*/ 2946218 w 6977214"/>
              <a:gd name="connsiteY23" fmla="*/ 1547314 h 6719118"/>
              <a:gd name="connsiteX24" fmla="*/ 2860675 w 6977214"/>
              <a:gd name="connsiteY24" fmla="*/ 1342390 h 6719118"/>
              <a:gd name="connsiteX25" fmla="*/ 2446655 w 6977214"/>
              <a:gd name="connsiteY25" fmla="*/ 782955 h 6719118"/>
              <a:gd name="connsiteX26" fmla="*/ 1745615 w 6977214"/>
              <a:gd name="connsiteY26" fmla="*/ 339725 h 6719118"/>
              <a:gd name="connsiteX27" fmla="*/ 554990 w 6977214"/>
              <a:gd name="connsiteY27" fmla="*/ 92075 h 6719118"/>
              <a:gd name="connsiteX28" fmla="*/ 0 w 6977214"/>
              <a:gd name="connsiteY28" fmla="*/ 45085 h 6719118"/>
              <a:gd name="connsiteX29" fmla="*/ 214604 w 6977214"/>
              <a:gd name="connsiteY29" fmla="*/ 0 h 6719118"/>
              <a:gd name="connsiteX0" fmla="*/ 214604 w 6977214"/>
              <a:gd name="connsiteY0" fmla="*/ 0 h 6717665"/>
              <a:gd name="connsiteX1" fmla="*/ 6961596 w 6977214"/>
              <a:gd name="connsiteY1" fmla="*/ 3175 h 6717665"/>
              <a:gd name="connsiteX2" fmla="*/ 6977199 w 6977214"/>
              <a:gd name="connsiteY2" fmla="*/ 83186 h 6717665"/>
              <a:gd name="connsiteX3" fmla="*/ 6968490 w 6977214"/>
              <a:gd name="connsiteY3" fmla="*/ 6702425 h 6717665"/>
              <a:gd name="connsiteX4" fmla="*/ 6677116 w 6977214"/>
              <a:gd name="connsiteY4" fmla="*/ 6712768 h 6717665"/>
              <a:gd name="connsiteX5" fmla="*/ 6451872 w 6977214"/>
              <a:gd name="connsiteY5" fmla="*/ 6717665 h 6717665"/>
              <a:gd name="connsiteX6" fmla="*/ 6066790 w 6977214"/>
              <a:gd name="connsiteY6" fmla="*/ 6715125 h 6717665"/>
              <a:gd name="connsiteX7" fmla="*/ 5605054 w 6977214"/>
              <a:gd name="connsiteY7" fmla="*/ 6682649 h 6717665"/>
              <a:gd name="connsiteX8" fmla="*/ 5351599 w 6977214"/>
              <a:gd name="connsiteY8" fmla="*/ 6644458 h 6717665"/>
              <a:gd name="connsiteX9" fmla="*/ 4892040 w 6977214"/>
              <a:gd name="connsiteY9" fmla="*/ 6572250 h 6717665"/>
              <a:gd name="connsiteX10" fmla="*/ 4472940 w 6977214"/>
              <a:gd name="connsiteY10" fmla="*/ 6473825 h 6717665"/>
              <a:gd name="connsiteX11" fmla="*/ 3796665 w 6977214"/>
              <a:gd name="connsiteY11" fmla="*/ 6137275 h 6717665"/>
              <a:gd name="connsiteX12" fmla="*/ 3412490 w 6977214"/>
              <a:gd name="connsiteY12" fmla="*/ 5883275 h 6717665"/>
              <a:gd name="connsiteX13" fmla="*/ 3114040 w 6977214"/>
              <a:gd name="connsiteY13" fmla="*/ 5597525 h 6717665"/>
              <a:gd name="connsiteX14" fmla="*/ 2851785 w 6977214"/>
              <a:gd name="connsiteY14" fmla="*/ 5061494 h 6717665"/>
              <a:gd name="connsiteX15" fmla="*/ 2815291 w 6977214"/>
              <a:gd name="connsiteY15" fmla="*/ 4782820 h 6717665"/>
              <a:gd name="connsiteX16" fmla="*/ 2809875 w 6977214"/>
              <a:gd name="connsiteY16" fmla="*/ 4358005 h 6717665"/>
              <a:gd name="connsiteX17" fmla="*/ 2911475 w 6977214"/>
              <a:gd name="connsiteY17" fmla="*/ 3862705 h 6717665"/>
              <a:gd name="connsiteX18" fmla="*/ 2975610 w 6977214"/>
              <a:gd name="connsiteY18" fmla="*/ 3527426 h 6717665"/>
              <a:gd name="connsiteX19" fmla="*/ 3084467 w 6977214"/>
              <a:gd name="connsiteY19" fmla="*/ 3105059 h 6717665"/>
              <a:gd name="connsiteX20" fmla="*/ 3101702 w 6977214"/>
              <a:gd name="connsiteY20" fmla="*/ 2698750 h 6717665"/>
              <a:gd name="connsiteX21" fmla="*/ 3110593 w 6977214"/>
              <a:gd name="connsiteY21" fmla="*/ 2347414 h 6717665"/>
              <a:gd name="connsiteX22" fmla="*/ 3064873 w 6977214"/>
              <a:gd name="connsiteY22" fmla="*/ 1978389 h 6717665"/>
              <a:gd name="connsiteX23" fmla="*/ 2946218 w 6977214"/>
              <a:gd name="connsiteY23" fmla="*/ 1547314 h 6717665"/>
              <a:gd name="connsiteX24" fmla="*/ 2860675 w 6977214"/>
              <a:gd name="connsiteY24" fmla="*/ 1342390 h 6717665"/>
              <a:gd name="connsiteX25" fmla="*/ 2446655 w 6977214"/>
              <a:gd name="connsiteY25" fmla="*/ 782955 h 6717665"/>
              <a:gd name="connsiteX26" fmla="*/ 1745615 w 6977214"/>
              <a:gd name="connsiteY26" fmla="*/ 339725 h 6717665"/>
              <a:gd name="connsiteX27" fmla="*/ 554990 w 6977214"/>
              <a:gd name="connsiteY27" fmla="*/ 92075 h 6717665"/>
              <a:gd name="connsiteX28" fmla="*/ 0 w 6977214"/>
              <a:gd name="connsiteY28" fmla="*/ 45085 h 6717665"/>
              <a:gd name="connsiteX29" fmla="*/ 214604 w 6977214"/>
              <a:gd name="connsiteY29" fmla="*/ 0 h 671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977214" h="6717665">
                <a:moveTo>
                  <a:pt x="214604" y="0"/>
                </a:moveTo>
                <a:lnTo>
                  <a:pt x="6961596" y="3175"/>
                </a:lnTo>
                <a:cubicBezTo>
                  <a:pt x="6960991" y="24040"/>
                  <a:pt x="6977804" y="62321"/>
                  <a:pt x="6977199" y="83186"/>
                </a:cubicBezTo>
                <a:lnTo>
                  <a:pt x="6968490" y="6702425"/>
                </a:lnTo>
                <a:lnTo>
                  <a:pt x="6677116" y="6712768"/>
                </a:lnTo>
                <a:lnTo>
                  <a:pt x="6451872" y="6717665"/>
                </a:lnTo>
                <a:lnTo>
                  <a:pt x="6066790" y="6715125"/>
                </a:lnTo>
                <a:lnTo>
                  <a:pt x="5605054" y="6682649"/>
                </a:lnTo>
                <a:lnTo>
                  <a:pt x="5351599" y="6644458"/>
                </a:lnTo>
                <a:lnTo>
                  <a:pt x="4892040" y="6572250"/>
                </a:lnTo>
                <a:lnTo>
                  <a:pt x="4472940" y="6473825"/>
                </a:lnTo>
                <a:lnTo>
                  <a:pt x="3796665" y="6137275"/>
                </a:lnTo>
                <a:lnTo>
                  <a:pt x="3412490" y="5883275"/>
                </a:lnTo>
                <a:lnTo>
                  <a:pt x="3114040" y="5597525"/>
                </a:lnTo>
                <a:lnTo>
                  <a:pt x="2851785" y="5061494"/>
                </a:lnTo>
                <a:lnTo>
                  <a:pt x="2815291" y="4782820"/>
                </a:lnTo>
                <a:cubicBezTo>
                  <a:pt x="2813486" y="4641215"/>
                  <a:pt x="2811680" y="4499610"/>
                  <a:pt x="2809875" y="4358005"/>
                </a:cubicBezTo>
                <a:lnTo>
                  <a:pt x="2911475" y="3862705"/>
                </a:lnTo>
                <a:lnTo>
                  <a:pt x="2975610" y="3527426"/>
                </a:lnTo>
                <a:lnTo>
                  <a:pt x="3084467" y="3105059"/>
                </a:lnTo>
                <a:lnTo>
                  <a:pt x="3101702" y="2698750"/>
                </a:lnTo>
                <a:lnTo>
                  <a:pt x="3110593" y="2347414"/>
                </a:lnTo>
                <a:cubicBezTo>
                  <a:pt x="3109867" y="2230211"/>
                  <a:pt x="3065599" y="2095592"/>
                  <a:pt x="3064873" y="1978389"/>
                </a:cubicBezTo>
                <a:lnTo>
                  <a:pt x="2946218" y="1547314"/>
                </a:lnTo>
                <a:lnTo>
                  <a:pt x="2860675" y="1342390"/>
                </a:lnTo>
                <a:lnTo>
                  <a:pt x="2446655" y="782955"/>
                </a:lnTo>
                <a:lnTo>
                  <a:pt x="1745615" y="339725"/>
                </a:lnTo>
                <a:lnTo>
                  <a:pt x="554990" y="92075"/>
                </a:lnTo>
                <a:lnTo>
                  <a:pt x="0" y="45085"/>
                </a:lnTo>
                <a:lnTo>
                  <a:pt x="214604" y="0"/>
                </a:lnTo>
                <a:close/>
              </a:path>
            </a:pathLst>
          </a:custGeom>
          <a:solidFill>
            <a:schemeClr val="accent2">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5">
            <a:extLst>
              <a:ext uri="{FF2B5EF4-FFF2-40B4-BE49-F238E27FC236}">
                <a16:creationId xmlns:a16="http://schemas.microsoft.com/office/drawing/2014/main" id="{A2B05A90-C33E-4329-864E-6B67C04C1DCA}"/>
              </a:ext>
            </a:extLst>
          </p:cNvPr>
          <p:cNvSpPr>
            <a:spLocks noGrp="1"/>
          </p:cNvSpPr>
          <p:nvPr>
            <p:ph type="body" sz="quarter" idx="11" hasCustomPrompt="1"/>
          </p:nvPr>
        </p:nvSpPr>
        <p:spPr>
          <a:xfrm>
            <a:off x="192755" y="3737243"/>
            <a:ext cx="3477546" cy="249299"/>
          </a:xfrm>
          <a:prstGeom prst="rect">
            <a:avLst/>
          </a:prstGeom>
        </p:spPr>
        <p:txBody>
          <a:bodyPr wrap="square" lIns="0" tIns="0" rIns="0" bIns="0">
            <a:spAutoFit/>
          </a:bodyPr>
          <a:lstStyle>
            <a:lvl1pPr marL="0" indent="0" algn="ctr">
              <a:buNone/>
              <a:defRPr sz="1800" b="0">
                <a:solidFill>
                  <a:schemeClr val="bg1"/>
                </a:solidFill>
                <a:latin typeface="+mn-lt"/>
              </a:defRPr>
            </a:lvl1pPr>
          </a:lstStyle>
          <a:p>
            <a:pPr lvl="0"/>
            <a:r>
              <a:rPr lang="en-US" dirty="0"/>
              <a:t>Sub Title</a:t>
            </a:r>
          </a:p>
        </p:txBody>
      </p:sp>
      <p:sp>
        <p:nvSpPr>
          <p:cNvPr id="12" name="Text Placeholder 5">
            <a:extLst>
              <a:ext uri="{FF2B5EF4-FFF2-40B4-BE49-F238E27FC236}">
                <a16:creationId xmlns:a16="http://schemas.microsoft.com/office/drawing/2014/main" id="{A474E466-694C-43FC-AEEE-4EDA6C471091}"/>
              </a:ext>
            </a:extLst>
          </p:cNvPr>
          <p:cNvSpPr>
            <a:spLocks noGrp="1"/>
          </p:cNvSpPr>
          <p:nvPr>
            <p:ph type="body" sz="quarter" idx="10" hasCustomPrompt="1"/>
          </p:nvPr>
        </p:nvSpPr>
        <p:spPr>
          <a:xfrm>
            <a:off x="192755" y="804693"/>
            <a:ext cx="3477546" cy="2769989"/>
          </a:xfrm>
          <a:prstGeom prst="rect">
            <a:avLst/>
          </a:prstGeom>
        </p:spPr>
        <p:txBody>
          <a:bodyPr wrap="square" lIns="0" tIns="0" rIns="0" bIns="0" anchor="b" anchorCtr="0">
            <a:spAutoFit/>
          </a:bodyPr>
          <a:lstStyle>
            <a:lvl1pPr marL="0" indent="0" algn="ctr">
              <a:lnSpc>
                <a:spcPct val="100000"/>
              </a:lnSpc>
              <a:buNone/>
              <a:defRPr sz="6000" b="1">
                <a:solidFill>
                  <a:schemeClr val="bg1"/>
                </a:solidFill>
                <a:latin typeface="+mj-lt"/>
              </a:defRPr>
            </a:lvl1pPr>
          </a:lstStyle>
          <a:p>
            <a:pPr lvl="0"/>
            <a:r>
              <a:rPr lang="en-US" dirty="0"/>
              <a:t>Title of the presentation</a:t>
            </a:r>
          </a:p>
        </p:txBody>
      </p:sp>
      <p:pic>
        <p:nvPicPr>
          <p:cNvPr id="34" name="Picture 33">
            <a:extLst>
              <a:ext uri="{FF2B5EF4-FFF2-40B4-BE49-F238E27FC236}">
                <a16:creationId xmlns:a16="http://schemas.microsoft.com/office/drawing/2014/main" id="{8EC82E3A-8390-463F-9ABA-A3ED378FC3F8}"/>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t="13024" b="6351"/>
          <a:stretch/>
        </p:blipFill>
        <p:spPr>
          <a:xfrm>
            <a:off x="5466905" y="6100624"/>
            <a:ext cx="1258190" cy="707328"/>
          </a:xfrm>
          <a:prstGeom prst="rect">
            <a:avLst/>
          </a:prstGeom>
          <a:ln>
            <a:noFill/>
          </a:ln>
        </p:spPr>
      </p:pic>
      <p:sp>
        <p:nvSpPr>
          <p:cNvPr id="8" name="Freeform: Shape 7">
            <a:extLst>
              <a:ext uri="{FF2B5EF4-FFF2-40B4-BE49-F238E27FC236}">
                <a16:creationId xmlns:a16="http://schemas.microsoft.com/office/drawing/2014/main" id="{DA5BF98B-7B28-43A2-B81F-467EEEB01583}"/>
              </a:ext>
            </a:extLst>
          </p:cNvPr>
          <p:cNvSpPr/>
          <p:nvPr userDrawn="1"/>
        </p:nvSpPr>
        <p:spPr>
          <a:xfrm>
            <a:off x="0" y="0"/>
            <a:ext cx="7429500" cy="6858000"/>
          </a:xfrm>
          <a:custGeom>
            <a:avLst/>
            <a:gdLst>
              <a:gd name="connsiteX0" fmla="*/ 37928 w 6853679"/>
              <a:gd name="connsiteY0" fmla="*/ 6269119 h 6430155"/>
              <a:gd name="connsiteX1" fmla="*/ 744939 w 6853679"/>
              <a:gd name="connsiteY1" fmla="*/ 6250265 h 6430155"/>
              <a:gd name="connsiteX2" fmla="*/ 2234374 w 6853679"/>
              <a:gd name="connsiteY2" fmla="*/ 5995742 h 6430155"/>
              <a:gd name="connsiteX3" fmla="*/ 3299603 w 6853679"/>
              <a:gd name="connsiteY3" fmla="*/ 5430133 h 6430155"/>
              <a:gd name="connsiteX4" fmla="*/ 3657821 w 6853679"/>
              <a:gd name="connsiteY4" fmla="*/ 4892805 h 6430155"/>
              <a:gd name="connsiteX5" fmla="*/ 3799223 w 6853679"/>
              <a:gd name="connsiteY5" fmla="*/ 4119808 h 6430155"/>
              <a:gd name="connsiteX6" fmla="*/ 3535273 w 6853679"/>
              <a:gd name="connsiteY6" fmla="*/ 2488970 h 6430155"/>
              <a:gd name="connsiteX7" fmla="*/ 3686102 w 6853679"/>
              <a:gd name="connsiteY7" fmla="*/ 1414315 h 6430155"/>
              <a:gd name="connsiteX8" fmla="*/ 4157442 w 6853679"/>
              <a:gd name="connsiteY8" fmla="*/ 707304 h 6430155"/>
              <a:gd name="connsiteX9" fmla="*/ 5137830 w 6853679"/>
              <a:gd name="connsiteY9" fmla="*/ 179403 h 6430155"/>
              <a:gd name="connsiteX10" fmla="*/ 6382168 w 6853679"/>
              <a:gd name="connsiteY10" fmla="*/ 294 h 6430155"/>
              <a:gd name="connsiteX11" fmla="*/ 6853508 w 6853679"/>
              <a:gd name="connsiteY11" fmla="*/ 141696 h 6430155"/>
              <a:gd name="connsiteX12" fmla="*/ 6429302 w 6853679"/>
              <a:gd name="connsiteY12" fmla="*/ 311379 h 6430155"/>
              <a:gd name="connsiteX13" fmla="*/ 5844840 w 6853679"/>
              <a:gd name="connsiteY13" fmla="*/ 471634 h 6430155"/>
              <a:gd name="connsiteX14" fmla="*/ 5269805 w 6853679"/>
              <a:gd name="connsiteY14" fmla="*/ 660170 h 6430155"/>
              <a:gd name="connsiteX15" fmla="*/ 4638209 w 6853679"/>
              <a:gd name="connsiteY15" fmla="*/ 990109 h 6430155"/>
              <a:gd name="connsiteX16" fmla="*/ 4157442 w 6853679"/>
              <a:gd name="connsiteY16" fmla="*/ 1725399 h 6430155"/>
              <a:gd name="connsiteX17" fmla="*/ 4148015 w 6853679"/>
              <a:gd name="connsiteY17" fmla="*/ 3054579 h 6430155"/>
              <a:gd name="connsiteX18" fmla="*/ 4251710 w 6853679"/>
              <a:gd name="connsiteY18" fmla="*/ 3629614 h 6430155"/>
              <a:gd name="connsiteX19" fmla="*/ 4279990 w 6853679"/>
              <a:gd name="connsiteY19" fmla="*/ 4836245 h 6430155"/>
              <a:gd name="connsiteX20" fmla="*/ 3959479 w 6853679"/>
              <a:gd name="connsiteY20" fmla="*/ 5618669 h 6430155"/>
              <a:gd name="connsiteX21" fmla="*/ 3111067 w 6853679"/>
              <a:gd name="connsiteY21" fmla="*/ 6212558 h 6430155"/>
              <a:gd name="connsiteX22" fmla="*/ 1847875 w 6853679"/>
              <a:gd name="connsiteY22" fmla="*/ 6429375 h 6430155"/>
              <a:gd name="connsiteX23" fmla="*/ 37928 w 6853679"/>
              <a:gd name="connsiteY23" fmla="*/ 6269119 h 6430155"/>
              <a:gd name="connsiteX0" fmla="*/ 37928 w 6853679"/>
              <a:gd name="connsiteY0" fmla="*/ 6269119 h 6430155"/>
              <a:gd name="connsiteX1" fmla="*/ 744939 w 6853679"/>
              <a:gd name="connsiteY1" fmla="*/ 6250265 h 6430155"/>
              <a:gd name="connsiteX2" fmla="*/ 2234374 w 6853679"/>
              <a:gd name="connsiteY2" fmla="*/ 5995742 h 6430155"/>
              <a:gd name="connsiteX3" fmla="*/ 3299603 w 6853679"/>
              <a:gd name="connsiteY3" fmla="*/ 5430133 h 6430155"/>
              <a:gd name="connsiteX4" fmla="*/ 3657821 w 6853679"/>
              <a:gd name="connsiteY4" fmla="*/ 4892805 h 6430155"/>
              <a:gd name="connsiteX5" fmla="*/ 3799223 w 6853679"/>
              <a:gd name="connsiteY5" fmla="*/ 4119808 h 6430155"/>
              <a:gd name="connsiteX6" fmla="*/ 3535273 w 6853679"/>
              <a:gd name="connsiteY6" fmla="*/ 2488970 h 6430155"/>
              <a:gd name="connsiteX7" fmla="*/ 3686102 w 6853679"/>
              <a:gd name="connsiteY7" fmla="*/ 1414315 h 6430155"/>
              <a:gd name="connsiteX8" fmla="*/ 4157442 w 6853679"/>
              <a:gd name="connsiteY8" fmla="*/ 707304 h 6430155"/>
              <a:gd name="connsiteX9" fmla="*/ 5137830 w 6853679"/>
              <a:gd name="connsiteY9" fmla="*/ 179403 h 6430155"/>
              <a:gd name="connsiteX10" fmla="*/ 6382168 w 6853679"/>
              <a:gd name="connsiteY10" fmla="*/ 294 h 6430155"/>
              <a:gd name="connsiteX11" fmla="*/ 6853508 w 6853679"/>
              <a:gd name="connsiteY11" fmla="*/ 141696 h 6430155"/>
              <a:gd name="connsiteX12" fmla="*/ 6429302 w 6853679"/>
              <a:gd name="connsiteY12" fmla="*/ 311379 h 6430155"/>
              <a:gd name="connsiteX13" fmla="*/ 5844840 w 6853679"/>
              <a:gd name="connsiteY13" fmla="*/ 471634 h 6430155"/>
              <a:gd name="connsiteX14" fmla="*/ 5269805 w 6853679"/>
              <a:gd name="connsiteY14" fmla="*/ 660170 h 6430155"/>
              <a:gd name="connsiteX15" fmla="*/ 4638209 w 6853679"/>
              <a:gd name="connsiteY15" fmla="*/ 990109 h 6430155"/>
              <a:gd name="connsiteX16" fmla="*/ 4157442 w 6853679"/>
              <a:gd name="connsiteY16" fmla="*/ 1725399 h 6430155"/>
              <a:gd name="connsiteX17" fmla="*/ 4148015 w 6853679"/>
              <a:gd name="connsiteY17" fmla="*/ 3054579 h 6430155"/>
              <a:gd name="connsiteX18" fmla="*/ 4251710 w 6853679"/>
              <a:gd name="connsiteY18" fmla="*/ 3629614 h 6430155"/>
              <a:gd name="connsiteX19" fmla="*/ 4279990 w 6853679"/>
              <a:gd name="connsiteY19" fmla="*/ 4836245 h 6430155"/>
              <a:gd name="connsiteX20" fmla="*/ 3959479 w 6853679"/>
              <a:gd name="connsiteY20" fmla="*/ 5618669 h 6430155"/>
              <a:gd name="connsiteX21" fmla="*/ 3111067 w 6853679"/>
              <a:gd name="connsiteY21" fmla="*/ 6212558 h 6430155"/>
              <a:gd name="connsiteX22" fmla="*/ 1847875 w 6853679"/>
              <a:gd name="connsiteY22" fmla="*/ 6429375 h 6430155"/>
              <a:gd name="connsiteX23" fmla="*/ 37928 w 6853679"/>
              <a:gd name="connsiteY23" fmla="*/ 6269119 h 6430155"/>
              <a:gd name="connsiteX0" fmla="*/ 37928 w 6853679"/>
              <a:gd name="connsiteY0" fmla="*/ 6269119 h 6430155"/>
              <a:gd name="connsiteX1" fmla="*/ 744939 w 6853679"/>
              <a:gd name="connsiteY1" fmla="*/ 6250265 h 6430155"/>
              <a:gd name="connsiteX2" fmla="*/ 2234374 w 6853679"/>
              <a:gd name="connsiteY2" fmla="*/ 5995742 h 6430155"/>
              <a:gd name="connsiteX3" fmla="*/ 3299603 w 6853679"/>
              <a:gd name="connsiteY3" fmla="*/ 5430133 h 6430155"/>
              <a:gd name="connsiteX4" fmla="*/ 3657821 w 6853679"/>
              <a:gd name="connsiteY4" fmla="*/ 4892805 h 6430155"/>
              <a:gd name="connsiteX5" fmla="*/ 3799223 w 6853679"/>
              <a:gd name="connsiteY5" fmla="*/ 4119808 h 6430155"/>
              <a:gd name="connsiteX6" fmla="*/ 3535273 w 6853679"/>
              <a:gd name="connsiteY6" fmla="*/ 2488970 h 6430155"/>
              <a:gd name="connsiteX7" fmla="*/ 3686102 w 6853679"/>
              <a:gd name="connsiteY7" fmla="*/ 1414315 h 6430155"/>
              <a:gd name="connsiteX8" fmla="*/ 4157442 w 6853679"/>
              <a:gd name="connsiteY8" fmla="*/ 707304 h 6430155"/>
              <a:gd name="connsiteX9" fmla="*/ 5137830 w 6853679"/>
              <a:gd name="connsiteY9" fmla="*/ 179403 h 6430155"/>
              <a:gd name="connsiteX10" fmla="*/ 6382168 w 6853679"/>
              <a:gd name="connsiteY10" fmla="*/ 294 h 6430155"/>
              <a:gd name="connsiteX11" fmla="*/ 6853508 w 6853679"/>
              <a:gd name="connsiteY11" fmla="*/ 141696 h 6430155"/>
              <a:gd name="connsiteX12" fmla="*/ 6429302 w 6853679"/>
              <a:gd name="connsiteY12" fmla="*/ 311379 h 6430155"/>
              <a:gd name="connsiteX13" fmla="*/ 5844840 w 6853679"/>
              <a:gd name="connsiteY13" fmla="*/ 471634 h 6430155"/>
              <a:gd name="connsiteX14" fmla="*/ 5269805 w 6853679"/>
              <a:gd name="connsiteY14" fmla="*/ 660170 h 6430155"/>
              <a:gd name="connsiteX15" fmla="*/ 4638209 w 6853679"/>
              <a:gd name="connsiteY15" fmla="*/ 990109 h 6430155"/>
              <a:gd name="connsiteX16" fmla="*/ 4157442 w 6853679"/>
              <a:gd name="connsiteY16" fmla="*/ 1725399 h 6430155"/>
              <a:gd name="connsiteX17" fmla="*/ 4148015 w 6853679"/>
              <a:gd name="connsiteY17" fmla="*/ 3054579 h 6430155"/>
              <a:gd name="connsiteX18" fmla="*/ 4251710 w 6853679"/>
              <a:gd name="connsiteY18" fmla="*/ 3629614 h 6430155"/>
              <a:gd name="connsiteX19" fmla="*/ 4279990 w 6853679"/>
              <a:gd name="connsiteY19" fmla="*/ 4836245 h 6430155"/>
              <a:gd name="connsiteX20" fmla="*/ 3959479 w 6853679"/>
              <a:gd name="connsiteY20" fmla="*/ 5618669 h 6430155"/>
              <a:gd name="connsiteX21" fmla="*/ 3111067 w 6853679"/>
              <a:gd name="connsiteY21" fmla="*/ 6212558 h 6430155"/>
              <a:gd name="connsiteX22" fmla="*/ 1847875 w 6853679"/>
              <a:gd name="connsiteY22" fmla="*/ 6429375 h 6430155"/>
              <a:gd name="connsiteX23" fmla="*/ 37928 w 6853679"/>
              <a:gd name="connsiteY23" fmla="*/ 6269119 h 6430155"/>
              <a:gd name="connsiteX0" fmla="*/ 37928 w 6853679"/>
              <a:gd name="connsiteY0" fmla="*/ 6269119 h 6430155"/>
              <a:gd name="connsiteX1" fmla="*/ 744939 w 6853679"/>
              <a:gd name="connsiteY1" fmla="*/ 6250265 h 6430155"/>
              <a:gd name="connsiteX2" fmla="*/ 2234374 w 6853679"/>
              <a:gd name="connsiteY2" fmla="*/ 5995742 h 6430155"/>
              <a:gd name="connsiteX3" fmla="*/ 3299603 w 6853679"/>
              <a:gd name="connsiteY3" fmla="*/ 5430133 h 6430155"/>
              <a:gd name="connsiteX4" fmla="*/ 3657821 w 6853679"/>
              <a:gd name="connsiteY4" fmla="*/ 4892805 h 6430155"/>
              <a:gd name="connsiteX5" fmla="*/ 3799223 w 6853679"/>
              <a:gd name="connsiteY5" fmla="*/ 4119808 h 6430155"/>
              <a:gd name="connsiteX6" fmla="*/ 3535273 w 6853679"/>
              <a:gd name="connsiteY6" fmla="*/ 2488970 h 6430155"/>
              <a:gd name="connsiteX7" fmla="*/ 3686102 w 6853679"/>
              <a:gd name="connsiteY7" fmla="*/ 1414315 h 6430155"/>
              <a:gd name="connsiteX8" fmla="*/ 4157442 w 6853679"/>
              <a:gd name="connsiteY8" fmla="*/ 707304 h 6430155"/>
              <a:gd name="connsiteX9" fmla="*/ 5137830 w 6853679"/>
              <a:gd name="connsiteY9" fmla="*/ 179403 h 6430155"/>
              <a:gd name="connsiteX10" fmla="*/ 6382168 w 6853679"/>
              <a:gd name="connsiteY10" fmla="*/ 294 h 6430155"/>
              <a:gd name="connsiteX11" fmla="*/ 6853508 w 6853679"/>
              <a:gd name="connsiteY11" fmla="*/ 141696 h 6430155"/>
              <a:gd name="connsiteX12" fmla="*/ 6429302 w 6853679"/>
              <a:gd name="connsiteY12" fmla="*/ 311379 h 6430155"/>
              <a:gd name="connsiteX13" fmla="*/ 5844840 w 6853679"/>
              <a:gd name="connsiteY13" fmla="*/ 471634 h 6430155"/>
              <a:gd name="connsiteX14" fmla="*/ 5269805 w 6853679"/>
              <a:gd name="connsiteY14" fmla="*/ 660170 h 6430155"/>
              <a:gd name="connsiteX15" fmla="*/ 4638209 w 6853679"/>
              <a:gd name="connsiteY15" fmla="*/ 990109 h 6430155"/>
              <a:gd name="connsiteX16" fmla="*/ 4157442 w 6853679"/>
              <a:gd name="connsiteY16" fmla="*/ 1725399 h 6430155"/>
              <a:gd name="connsiteX17" fmla="*/ 4178495 w 6853679"/>
              <a:gd name="connsiteY17" fmla="*/ 3039339 h 6430155"/>
              <a:gd name="connsiteX18" fmla="*/ 4251710 w 6853679"/>
              <a:gd name="connsiteY18" fmla="*/ 3629614 h 6430155"/>
              <a:gd name="connsiteX19" fmla="*/ 4279990 w 6853679"/>
              <a:gd name="connsiteY19" fmla="*/ 4836245 h 6430155"/>
              <a:gd name="connsiteX20" fmla="*/ 3959479 w 6853679"/>
              <a:gd name="connsiteY20" fmla="*/ 5618669 h 6430155"/>
              <a:gd name="connsiteX21" fmla="*/ 3111067 w 6853679"/>
              <a:gd name="connsiteY21" fmla="*/ 6212558 h 6430155"/>
              <a:gd name="connsiteX22" fmla="*/ 1847875 w 6853679"/>
              <a:gd name="connsiteY22" fmla="*/ 6429375 h 6430155"/>
              <a:gd name="connsiteX23" fmla="*/ 37928 w 6853679"/>
              <a:gd name="connsiteY23" fmla="*/ 6269119 h 6430155"/>
              <a:gd name="connsiteX0" fmla="*/ 37928 w 6853679"/>
              <a:gd name="connsiteY0" fmla="*/ 6269119 h 6430155"/>
              <a:gd name="connsiteX1" fmla="*/ 744939 w 6853679"/>
              <a:gd name="connsiteY1" fmla="*/ 6250265 h 6430155"/>
              <a:gd name="connsiteX2" fmla="*/ 2234374 w 6853679"/>
              <a:gd name="connsiteY2" fmla="*/ 5995742 h 6430155"/>
              <a:gd name="connsiteX3" fmla="*/ 3299603 w 6853679"/>
              <a:gd name="connsiteY3" fmla="*/ 5430133 h 6430155"/>
              <a:gd name="connsiteX4" fmla="*/ 3657821 w 6853679"/>
              <a:gd name="connsiteY4" fmla="*/ 4892805 h 6430155"/>
              <a:gd name="connsiteX5" fmla="*/ 3799223 w 6853679"/>
              <a:gd name="connsiteY5" fmla="*/ 4119808 h 6430155"/>
              <a:gd name="connsiteX6" fmla="*/ 3535273 w 6853679"/>
              <a:gd name="connsiteY6" fmla="*/ 2488970 h 6430155"/>
              <a:gd name="connsiteX7" fmla="*/ 3686102 w 6853679"/>
              <a:gd name="connsiteY7" fmla="*/ 1414315 h 6430155"/>
              <a:gd name="connsiteX8" fmla="*/ 4157442 w 6853679"/>
              <a:gd name="connsiteY8" fmla="*/ 707304 h 6430155"/>
              <a:gd name="connsiteX9" fmla="*/ 5137830 w 6853679"/>
              <a:gd name="connsiteY9" fmla="*/ 179403 h 6430155"/>
              <a:gd name="connsiteX10" fmla="*/ 6382168 w 6853679"/>
              <a:gd name="connsiteY10" fmla="*/ 294 h 6430155"/>
              <a:gd name="connsiteX11" fmla="*/ 6853508 w 6853679"/>
              <a:gd name="connsiteY11" fmla="*/ 141696 h 6430155"/>
              <a:gd name="connsiteX12" fmla="*/ 6429302 w 6853679"/>
              <a:gd name="connsiteY12" fmla="*/ 311379 h 6430155"/>
              <a:gd name="connsiteX13" fmla="*/ 5844840 w 6853679"/>
              <a:gd name="connsiteY13" fmla="*/ 471634 h 6430155"/>
              <a:gd name="connsiteX14" fmla="*/ 5269805 w 6853679"/>
              <a:gd name="connsiteY14" fmla="*/ 660170 h 6430155"/>
              <a:gd name="connsiteX15" fmla="*/ 4638209 w 6853679"/>
              <a:gd name="connsiteY15" fmla="*/ 990109 h 6430155"/>
              <a:gd name="connsiteX16" fmla="*/ 4157442 w 6853679"/>
              <a:gd name="connsiteY16" fmla="*/ 1725399 h 6430155"/>
              <a:gd name="connsiteX17" fmla="*/ 4178495 w 6853679"/>
              <a:gd name="connsiteY17" fmla="*/ 3039339 h 6430155"/>
              <a:gd name="connsiteX18" fmla="*/ 4259330 w 6853679"/>
              <a:gd name="connsiteY18" fmla="*/ 3614374 h 6430155"/>
              <a:gd name="connsiteX19" fmla="*/ 4279990 w 6853679"/>
              <a:gd name="connsiteY19" fmla="*/ 4836245 h 6430155"/>
              <a:gd name="connsiteX20" fmla="*/ 3959479 w 6853679"/>
              <a:gd name="connsiteY20" fmla="*/ 5618669 h 6430155"/>
              <a:gd name="connsiteX21" fmla="*/ 3111067 w 6853679"/>
              <a:gd name="connsiteY21" fmla="*/ 6212558 h 6430155"/>
              <a:gd name="connsiteX22" fmla="*/ 1847875 w 6853679"/>
              <a:gd name="connsiteY22" fmla="*/ 6429375 h 6430155"/>
              <a:gd name="connsiteX23" fmla="*/ 37928 w 6853679"/>
              <a:gd name="connsiteY23" fmla="*/ 6269119 h 6430155"/>
              <a:gd name="connsiteX0" fmla="*/ 37928 w 6853679"/>
              <a:gd name="connsiteY0" fmla="*/ 6269119 h 6430155"/>
              <a:gd name="connsiteX1" fmla="*/ 744939 w 6853679"/>
              <a:gd name="connsiteY1" fmla="*/ 6250265 h 6430155"/>
              <a:gd name="connsiteX2" fmla="*/ 2234374 w 6853679"/>
              <a:gd name="connsiteY2" fmla="*/ 5995742 h 6430155"/>
              <a:gd name="connsiteX3" fmla="*/ 3299603 w 6853679"/>
              <a:gd name="connsiteY3" fmla="*/ 5430133 h 6430155"/>
              <a:gd name="connsiteX4" fmla="*/ 3657821 w 6853679"/>
              <a:gd name="connsiteY4" fmla="*/ 4892805 h 6430155"/>
              <a:gd name="connsiteX5" fmla="*/ 3799223 w 6853679"/>
              <a:gd name="connsiteY5" fmla="*/ 4119808 h 6430155"/>
              <a:gd name="connsiteX6" fmla="*/ 3535273 w 6853679"/>
              <a:gd name="connsiteY6" fmla="*/ 2488970 h 6430155"/>
              <a:gd name="connsiteX7" fmla="*/ 3686102 w 6853679"/>
              <a:gd name="connsiteY7" fmla="*/ 1414315 h 6430155"/>
              <a:gd name="connsiteX8" fmla="*/ 4157442 w 6853679"/>
              <a:gd name="connsiteY8" fmla="*/ 707304 h 6430155"/>
              <a:gd name="connsiteX9" fmla="*/ 5137830 w 6853679"/>
              <a:gd name="connsiteY9" fmla="*/ 179403 h 6430155"/>
              <a:gd name="connsiteX10" fmla="*/ 6382168 w 6853679"/>
              <a:gd name="connsiteY10" fmla="*/ 294 h 6430155"/>
              <a:gd name="connsiteX11" fmla="*/ 6853508 w 6853679"/>
              <a:gd name="connsiteY11" fmla="*/ 141696 h 6430155"/>
              <a:gd name="connsiteX12" fmla="*/ 6429302 w 6853679"/>
              <a:gd name="connsiteY12" fmla="*/ 311379 h 6430155"/>
              <a:gd name="connsiteX13" fmla="*/ 5844840 w 6853679"/>
              <a:gd name="connsiteY13" fmla="*/ 471634 h 6430155"/>
              <a:gd name="connsiteX14" fmla="*/ 5269805 w 6853679"/>
              <a:gd name="connsiteY14" fmla="*/ 660170 h 6430155"/>
              <a:gd name="connsiteX15" fmla="*/ 4638209 w 6853679"/>
              <a:gd name="connsiteY15" fmla="*/ 990109 h 6430155"/>
              <a:gd name="connsiteX16" fmla="*/ 4157442 w 6853679"/>
              <a:gd name="connsiteY16" fmla="*/ 1725399 h 6430155"/>
              <a:gd name="connsiteX17" fmla="*/ 4178495 w 6853679"/>
              <a:gd name="connsiteY17" fmla="*/ 3039339 h 6430155"/>
              <a:gd name="connsiteX18" fmla="*/ 4259330 w 6853679"/>
              <a:gd name="connsiteY18" fmla="*/ 3614374 h 6430155"/>
              <a:gd name="connsiteX19" fmla="*/ 4279990 w 6853679"/>
              <a:gd name="connsiteY19" fmla="*/ 4836245 h 6430155"/>
              <a:gd name="connsiteX20" fmla="*/ 3959479 w 6853679"/>
              <a:gd name="connsiteY20" fmla="*/ 5618669 h 6430155"/>
              <a:gd name="connsiteX21" fmla="*/ 3111067 w 6853679"/>
              <a:gd name="connsiteY21" fmla="*/ 6212558 h 6430155"/>
              <a:gd name="connsiteX22" fmla="*/ 1847875 w 6853679"/>
              <a:gd name="connsiteY22" fmla="*/ 6429375 h 6430155"/>
              <a:gd name="connsiteX23" fmla="*/ 37928 w 6853679"/>
              <a:gd name="connsiteY23" fmla="*/ 6269119 h 6430155"/>
              <a:gd name="connsiteX0" fmla="*/ 37928 w 6853679"/>
              <a:gd name="connsiteY0" fmla="*/ 6269119 h 6430155"/>
              <a:gd name="connsiteX1" fmla="*/ 744939 w 6853679"/>
              <a:gd name="connsiteY1" fmla="*/ 6250265 h 6430155"/>
              <a:gd name="connsiteX2" fmla="*/ 2234374 w 6853679"/>
              <a:gd name="connsiteY2" fmla="*/ 5995742 h 6430155"/>
              <a:gd name="connsiteX3" fmla="*/ 3299603 w 6853679"/>
              <a:gd name="connsiteY3" fmla="*/ 5430133 h 6430155"/>
              <a:gd name="connsiteX4" fmla="*/ 3657821 w 6853679"/>
              <a:gd name="connsiteY4" fmla="*/ 4892805 h 6430155"/>
              <a:gd name="connsiteX5" fmla="*/ 3799223 w 6853679"/>
              <a:gd name="connsiteY5" fmla="*/ 4119808 h 6430155"/>
              <a:gd name="connsiteX6" fmla="*/ 3535273 w 6853679"/>
              <a:gd name="connsiteY6" fmla="*/ 2488970 h 6430155"/>
              <a:gd name="connsiteX7" fmla="*/ 3686102 w 6853679"/>
              <a:gd name="connsiteY7" fmla="*/ 1414315 h 6430155"/>
              <a:gd name="connsiteX8" fmla="*/ 4157442 w 6853679"/>
              <a:gd name="connsiteY8" fmla="*/ 707304 h 6430155"/>
              <a:gd name="connsiteX9" fmla="*/ 5137830 w 6853679"/>
              <a:gd name="connsiteY9" fmla="*/ 179403 h 6430155"/>
              <a:gd name="connsiteX10" fmla="*/ 6382168 w 6853679"/>
              <a:gd name="connsiteY10" fmla="*/ 294 h 6430155"/>
              <a:gd name="connsiteX11" fmla="*/ 6853508 w 6853679"/>
              <a:gd name="connsiteY11" fmla="*/ 141696 h 6430155"/>
              <a:gd name="connsiteX12" fmla="*/ 6429302 w 6853679"/>
              <a:gd name="connsiteY12" fmla="*/ 311379 h 6430155"/>
              <a:gd name="connsiteX13" fmla="*/ 5844840 w 6853679"/>
              <a:gd name="connsiteY13" fmla="*/ 471634 h 6430155"/>
              <a:gd name="connsiteX14" fmla="*/ 5269805 w 6853679"/>
              <a:gd name="connsiteY14" fmla="*/ 660170 h 6430155"/>
              <a:gd name="connsiteX15" fmla="*/ 4638209 w 6853679"/>
              <a:gd name="connsiteY15" fmla="*/ 990109 h 6430155"/>
              <a:gd name="connsiteX16" fmla="*/ 4157442 w 6853679"/>
              <a:gd name="connsiteY16" fmla="*/ 1725399 h 6430155"/>
              <a:gd name="connsiteX17" fmla="*/ 4178495 w 6853679"/>
              <a:gd name="connsiteY17" fmla="*/ 3039339 h 6430155"/>
              <a:gd name="connsiteX18" fmla="*/ 4259330 w 6853679"/>
              <a:gd name="connsiteY18" fmla="*/ 3614374 h 6430155"/>
              <a:gd name="connsiteX19" fmla="*/ 4279990 w 6853679"/>
              <a:gd name="connsiteY19" fmla="*/ 4836245 h 6430155"/>
              <a:gd name="connsiteX20" fmla="*/ 3959479 w 6853679"/>
              <a:gd name="connsiteY20" fmla="*/ 5618669 h 6430155"/>
              <a:gd name="connsiteX21" fmla="*/ 3111067 w 6853679"/>
              <a:gd name="connsiteY21" fmla="*/ 6212558 h 6430155"/>
              <a:gd name="connsiteX22" fmla="*/ 1847875 w 6853679"/>
              <a:gd name="connsiteY22" fmla="*/ 6429375 h 6430155"/>
              <a:gd name="connsiteX23" fmla="*/ 37928 w 6853679"/>
              <a:gd name="connsiteY23" fmla="*/ 6269119 h 6430155"/>
              <a:gd name="connsiteX0" fmla="*/ 37928 w 6853679"/>
              <a:gd name="connsiteY0" fmla="*/ 6269119 h 6430155"/>
              <a:gd name="connsiteX1" fmla="*/ 744939 w 6853679"/>
              <a:gd name="connsiteY1" fmla="*/ 6250265 h 6430155"/>
              <a:gd name="connsiteX2" fmla="*/ 2234374 w 6853679"/>
              <a:gd name="connsiteY2" fmla="*/ 5995742 h 6430155"/>
              <a:gd name="connsiteX3" fmla="*/ 3299603 w 6853679"/>
              <a:gd name="connsiteY3" fmla="*/ 5430133 h 6430155"/>
              <a:gd name="connsiteX4" fmla="*/ 3657821 w 6853679"/>
              <a:gd name="connsiteY4" fmla="*/ 4892805 h 6430155"/>
              <a:gd name="connsiteX5" fmla="*/ 3799223 w 6853679"/>
              <a:gd name="connsiteY5" fmla="*/ 4119808 h 6430155"/>
              <a:gd name="connsiteX6" fmla="*/ 3535273 w 6853679"/>
              <a:gd name="connsiteY6" fmla="*/ 2488970 h 6430155"/>
              <a:gd name="connsiteX7" fmla="*/ 3686102 w 6853679"/>
              <a:gd name="connsiteY7" fmla="*/ 1414315 h 6430155"/>
              <a:gd name="connsiteX8" fmla="*/ 4157442 w 6853679"/>
              <a:gd name="connsiteY8" fmla="*/ 707304 h 6430155"/>
              <a:gd name="connsiteX9" fmla="*/ 5137830 w 6853679"/>
              <a:gd name="connsiteY9" fmla="*/ 179403 h 6430155"/>
              <a:gd name="connsiteX10" fmla="*/ 6382168 w 6853679"/>
              <a:gd name="connsiteY10" fmla="*/ 294 h 6430155"/>
              <a:gd name="connsiteX11" fmla="*/ 6853508 w 6853679"/>
              <a:gd name="connsiteY11" fmla="*/ 141696 h 6430155"/>
              <a:gd name="connsiteX12" fmla="*/ 6429302 w 6853679"/>
              <a:gd name="connsiteY12" fmla="*/ 311379 h 6430155"/>
              <a:gd name="connsiteX13" fmla="*/ 5844840 w 6853679"/>
              <a:gd name="connsiteY13" fmla="*/ 471634 h 6430155"/>
              <a:gd name="connsiteX14" fmla="*/ 5269805 w 6853679"/>
              <a:gd name="connsiteY14" fmla="*/ 660170 h 6430155"/>
              <a:gd name="connsiteX15" fmla="*/ 4638209 w 6853679"/>
              <a:gd name="connsiteY15" fmla="*/ 990109 h 6430155"/>
              <a:gd name="connsiteX16" fmla="*/ 4157442 w 6853679"/>
              <a:gd name="connsiteY16" fmla="*/ 1725399 h 6430155"/>
              <a:gd name="connsiteX17" fmla="*/ 4178495 w 6853679"/>
              <a:gd name="connsiteY17" fmla="*/ 3039339 h 6430155"/>
              <a:gd name="connsiteX18" fmla="*/ 4259330 w 6853679"/>
              <a:gd name="connsiteY18" fmla="*/ 3614374 h 6430155"/>
              <a:gd name="connsiteX19" fmla="*/ 4279990 w 6853679"/>
              <a:gd name="connsiteY19" fmla="*/ 4836245 h 6430155"/>
              <a:gd name="connsiteX20" fmla="*/ 3959479 w 6853679"/>
              <a:gd name="connsiteY20" fmla="*/ 5618669 h 6430155"/>
              <a:gd name="connsiteX21" fmla="*/ 3111067 w 6853679"/>
              <a:gd name="connsiteY21" fmla="*/ 6212558 h 6430155"/>
              <a:gd name="connsiteX22" fmla="*/ 1847875 w 6853679"/>
              <a:gd name="connsiteY22" fmla="*/ 6429375 h 6430155"/>
              <a:gd name="connsiteX23" fmla="*/ 37928 w 6853679"/>
              <a:gd name="connsiteY23" fmla="*/ 6269119 h 6430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53679" h="6430155">
                <a:moveTo>
                  <a:pt x="37928" y="6269119"/>
                </a:moveTo>
                <a:cubicBezTo>
                  <a:pt x="-145895" y="6239267"/>
                  <a:pt x="378865" y="6295828"/>
                  <a:pt x="744939" y="6250265"/>
                </a:cubicBezTo>
                <a:cubicBezTo>
                  <a:pt x="1111013" y="6204702"/>
                  <a:pt x="1808597" y="6132431"/>
                  <a:pt x="2234374" y="5995742"/>
                </a:cubicBezTo>
                <a:cubicBezTo>
                  <a:pt x="2660151" y="5859053"/>
                  <a:pt x="3062362" y="5613956"/>
                  <a:pt x="3299603" y="5430133"/>
                </a:cubicBezTo>
                <a:cubicBezTo>
                  <a:pt x="3536844" y="5246310"/>
                  <a:pt x="3574551" y="5111192"/>
                  <a:pt x="3657821" y="4892805"/>
                </a:cubicBezTo>
                <a:cubicBezTo>
                  <a:pt x="3741091" y="4674418"/>
                  <a:pt x="3819648" y="4520447"/>
                  <a:pt x="3799223" y="4119808"/>
                </a:cubicBezTo>
                <a:cubicBezTo>
                  <a:pt x="3778798" y="3719169"/>
                  <a:pt x="3554126" y="2939885"/>
                  <a:pt x="3535273" y="2488970"/>
                </a:cubicBezTo>
                <a:cubicBezTo>
                  <a:pt x="3516420" y="2038055"/>
                  <a:pt x="3582407" y="1711259"/>
                  <a:pt x="3686102" y="1414315"/>
                </a:cubicBezTo>
                <a:cubicBezTo>
                  <a:pt x="3789797" y="1117371"/>
                  <a:pt x="3915487" y="913123"/>
                  <a:pt x="4157442" y="707304"/>
                </a:cubicBezTo>
                <a:cubicBezTo>
                  <a:pt x="4399397" y="501485"/>
                  <a:pt x="4767042" y="297238"/>
                  <a:pt x="5137830" y="179403"/>
                </a:cubicBezTo>
                <a:cubicBezTo>
                  <a:pt x="5508618" y="61568"/>
                  <a:pt x="6096222" y="6578"/>
                  <a:pt x="6382168" y="294"/>
                </a:cubicBezTo>
                <a:cubicBezTo>
                  <a:pt x="6668114" y="-5991"/>
                  <a:pt x="6845652" y="89848"/>
                  <a:pt x="6853508" y="141696"/>
                </a:cubicBezTo>
                <a:cubicBezTo>
                  <a:pt x="6861364" y="193543"/>
                  <a:pt x="6597413" y="256389"/>
                  <a:pt x="6429302" y="311379"/>
                </a:cubicBezTo>
                <a:cubicBezTo>
                  <a:pt x="6261191" y="366369"/>
                  <a:pt x="6038089" y="413502"/>
                  <a:pt x="5844840" y="471634"/>
                </a:cubicBezTo>
                <a:cubicBezTo>
                  <a:pt x="5651591" y="529766"/>
                  <a:pt x="5470910" y="573758"/>
                  <a:pt x="5269805" y="660170"/>
                </a:cubicBezTo>
                <a:cubicBezTo>
                  <a:pt x="5068700" y="746582"/>
                  <a:pt x="4823603" y="812571"/>
                  <a:pt x="4638209" y="990109"/>
                </a:cubicBezTo>
                <a:cubicBezTo>
                  <a:pt x="4452815" y="1167647"/>
                  <a:pt x="4234061" y="1383861"/>
                  <a:pt x="4157442" y="1725399"/>
                </a:cubicBezTo>
                <a:cubicBezTo>
                  <a:pt x="4080823" y="2066937"/>
                  <a:pt x="4131034" y="2724510"/>
                  <a:pt x="4178495" y="3039339"/>
                </a:cubicBezTo>
                <a:cubicBezTo>
                  <a:pt x="4225956" y="3354168"/>
                  <a:pt x="4211934" y="3299650"/>
                  <a:pt x="4259330" y="3614374"/>
                </a:cubicBezTo>
                <a:cubicBezTo>
                  <a:pt x="4306726" y="3929098"/>
                  <a:pt x="4329965" y="4502196"/>
                  <a:pt x="4279990" y="4836245"/>
                </a:cubicBezTo>
                <a:cubicBezTo>
                  <a:pt x="4230015" y="5170294"/>
                  <a:pt x="4154300" y="5389283"/>
                  <a:pt x="3959479" y="5618669"/>
                </a:cubicBezTo>
                <a:cubicBezTo>
                  <a:pt x="3764659" y="5848054"/>
                  <a:pt x="3463001" y="6077440"/>
                  <a:pt x="3111067" y="6212558"/>
                </a:cubicBezTo>
                <a:cubicBezTo>
                  <a:pt x="2759133" y="6347676"/>
                  <a:pt x="2355351" y="6416806"/>
                  <a:pt x="1847875" y="6429375"/>
                </a:cubicBezTo>
                <a:cubicBezTo>
                  <a:pt x="1340399" y="6441944"/>
                  <a:pt x="221751" y="6298971"/>
                  <a:pt x="37928" y="6269119"/>
                </a:cubicBezTo>
                <a:close/>
              </a:path>
            </a:pathLst>
          </a:custGeom>
          <a:solidFill>
            <a:srgbClr val="E54B1B"/>
          </a:solidFill>
          <a:ln>
            <a:noFill/>
          </a:ln>
          <a:effectLst>
            <a:glow rad="101600">
              <a:schemeClr val="accent2">
                <a:satMod val="175000"/>
                <a:alpha val="40000"/>
              </a:schemeClr>
            </a:glow>
            <a:outerShdw blurRad="50800" dist="38100" dir="7200000" algn="r" rotWithShape="0">
              <a:schemeClr val="accent3">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45384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Dark-Blank">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A7FA247-99B5-4ADB-813E-965729C5E268}"/>
              </a:ext>
            </a:extLst>
          </p:cNvPr>
          <p:cNvGraphicFramePr>
            <a:graphicFrameLocks noChangeAspect="1"/>
          </p:cNvGraphicFramePr>
          <p:nvPr userDrawn="1">
            <p:custDataLst>
              <p:tags r:id="rId2"/>
            </p:custDataLst>
            <p:extLst>
              <p:ext uri="{D42A27DB-BD31-4B8C-83A1-F6EECF244321}">
                <p14:modId xmlns:p14="http://schemas.microsoft.com/office/powerpoint/2010/main" val="40486341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82"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8A7FA247-99B5-4ADB-813E-965729C5E26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886B6566-AF84-4725-BEAA-552290073FBA}"/>
              </a:ext>
            </a:extLst>
          </p:cNvPr>
          <p:cNvSpPr/>
          <p:nvPr userDrawn="1"/>
        </p:nvSpPr>
        <p:spPr>
          <a:xfrm flipH="1">
            <a:off x="0" y="-1"/>
            <a:ext cx="12192000" cy="6857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5">
            <a:extLst>
              <a:ext uri="{FF2B5EF4-FFF2-40B4-BE49-F238E27FC236}">
                <a16:creationId xmlns:a16="http://schemas.microsoft.com/office/drawing/2014/main" id="{A2B05A90-C33E-4329-864E-6B67C04C1DCA}"/>
              </a:ext>
            </a:extLst>
          </p:cNvPr>
          <p:cNvSpPr>
            <a:spLocks noGrp="1"/>
          </p:cNvSpPr>
          <p:nvPr>
            <p:ph type="body" sz="quarter" idx="11" hasCustomPrompt="1"/>
          </p:nvPr>
        </p:nvSpPr>
        <p:spPr>
          <a:xfrm>
            <a:off x="309643" y="4192360"/>
            <a:ext cx="4586207" cy="249299"/>
          </a:xfrm>
          <a:prstGeom prst="rect">
            <a:avLst/>
          </a:prstGeom>
        </p:spPr>
        <p:txBody>
          <a:bodyPr wrap="square" lIns="0" tIns="0" rIns="0" bIns="0">
            <a:spAutoFit/>
          </a:bodyPr>
          <a:lstStyle>
            <a:lvl1pPr marL="0" indent="0" algn="ctr">
              <a:buNone/>
              <a:defRPr sz="1800" b="0">
                <a:solidFill>
                  <a:schemeClr val="bg1"/>
                </a:solidFill>
                <a:latin typeface="+mn-lt"/>
              </a:defRPr>
            </a:lvl1pPr>
          </a:lstStyle>
          <a:p>
            <a:pPr lvl="0"/>
            <a:r>
              <a:rPr lang="en-US" dirty="0"/>
              <a:t>Sub Title</a:t>
            </a:r>
          </a:p>
        </p:txBody>
      </p:sp>
      <p:sp>
        <p:nvSpPr>
          <p:cNvPr id="12" name="Text Placeholder 5">
            <a:extLst>
              <a:ext uri="{FF2B5EF4-FFF2-40B4-BE49-F238E27FC236}">
                <a16:creationId xmlns:a16="http://schemas.microsoft.com/office/drawing/2014/main" id="{A474E466-694C-43FC-AEEE-4EDA6C471091}"/>
              </a:ext>
            </a:extLst>
          </p:cNvPr>
          <p:cNvSpPr>
            <a:spLocks noGrp="1"/>
          </p:cNvSpPr>
          <p:nvPr>
            <p:ph type="body" sz="quarter" idx="10" hasCustomPrompt="1"/>
          </p:nvPr>
        </p:nvSpPr>
        <p:spPr>
          <a:xfrm>
            <a:off x="309643" y="2794546"/>
            <a:ext cx="4586207" cy="1231106"/>
          </a:xfrm>
          <a:prstGeom prst="rect">
            <a:avLst/>
          </a:prstGeom>
        </p:spPr>
        <p:txBody>
          <a:bodyPr wrap="square" lIns="0" tIns="0" rIns="0" bIns="0" anchor="t" anchorCtr="0">
            <a:spAutoFit/>
          </a:bodyPr>
          <a:lstStyle>
            <a:lvl1pPr marL="0" indent="0" algn="ctr">
              <a:lnSpc>
                <a:spcPct val="100000"/>
              </a:lnSpc>
              <a:buNone/>
              <a:defRPr sz="4000" b="1">
                <a:solidFill>
                  <a:schemeClr val="bg1"/>
                </a:solidFill>
                <a:latin typeface="+mj-lt"/>
              </a:defRPr>
            </a:lvl1pPr>
          </a:lstStyle>
          <a:p>
            <a:pPr lvl="0"/>
            <a:r>
              <a:rPr lang="en-US" dirty="0"/>
              <a:t>Title of the presentation</a:t>
            </a:r>
          </a:p>
        </p:txBody>
      </p:sp>
      <p:pic>
        <p:nvPicPr>
          <p:cNvPr id="15" name="Picture 14" descr="A person looking at the camera&#10;&#10;Description generated with very high confidence">
            <a:extLst>
              <a:ext uri="{FF2B5EF4-FFF2-40B4-BE49-F238E27FC236}">
                <a16:creationId xmlns:a16="http://schemas.microsoft.com/office/drawing/2014/main" id="{C64B043D-CBB7-4807-A56B-71CA1F90868D}"/>
              </a:ext>
            </a:extLst>
          </p:cNvPr>
          <p:cNvPicPr>
            <a:picLocks noChangeAspect="1"/>
          </p:cNvPicPr>
          <p:nvPr userDrawn="1"/>
        </p:nvPicPr>
        <p:blipFill rotWithShape="1">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2611" r="24646"/>
          <a:stretch/>
        </p:blipFill>
        <p:spPr>
          <a:xfrm>
            <a:off x="4717144" y="0"/>
            <a:ext cx="7474857" cy="6858000"/>
          </a:xfrm>
          <a:custGeom>
            <a:avLst/>
            <a:gdLst>
              <a:gd name="connsiteX0" fmla="*/ 0 w 7474857"/>
              <a:gd name="connsiteY0" fmla="*/ 0 h 6858000"/>
              <a:gd name="connsiteX1" fmla="*/ 7474857 w 7474857"/>
              <a:gd name="connsiteY1" fmla="*/ 0 h 6858000"/>
              <a:gd name="connsiteX2" fmla="*/ 7474857 w 7474857"/>
              <a:gd name="connsiteY2" fmla="*/ 6858000 h 6858000"/>
              <a:gd name="connsiteX3" fmla="*/ 2777925 w 747485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474857" h="6858000">
                <a:moveTo>
                  <a:pt x="0" y="0"/>
                </a:moveTo>
                <a:lnTo>
                  <a:pt x="7474857" y="0"/>
                </a:lnTo>
                <a:lnTo>
                  <a:pt x="7474857" y="6858000"/>
                </a:lnTo>
                <a:lnTo>
                  <a:pt x="2777925" y="6858000"/>
                </a:lnTo>
                <a:close/>
              </a:path>
            </a:pathLst>
          </a:custGeom>
        </p:spPr>
      </p:pic>
      <p:sp>
        <p:nvSpPr>
          <p:cNvPr id="13" name="Oval 12">
            <a:extLst>
              <a:ext uri="{FF2B5EF4-FFF2-40B4-BE49-F238E27FC236}">
                <a16:creationId xmlns:a16="http://schemas.microsoft.com/office/drawing/2014/main" id="{AC0F1E7C-72D9-4FFB-A52C-893359D2287F}"/>
              </a:ext>
            </a:extLst>
          </p:cNvPr>
          <p:cNvSpPr/>
          <p:nvPr userDrawn="1"/>
        </p:nvSpPr>
        <p:spPr>
          <a:xfrm>
            <a:off x="5127670" y="2640941"/>
            <a:ext cx="1766618" cy="1766618"/>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C358EB5F-3E28-47CB-8D92-1E05F21BA1E6}"/>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t="13024" b="6351"/>
          <a:stretch/>
        </p:blipFill>
        <p:spPr>
          <a:xfrm>
            <a:off x="5381884" y="3170586"/>
            <a:ext cx="1258190" cy="707328"/>
          </a:xfrm>
          <a:prstGeom prst="rect">
            <a:avLst/>
          </a:prstGeom>
          <a:ln>
            <a:noFill/>
          </a:ln>
        </p:spPr>
      </p:pic>
    </p:spTree>
    <p:extLst>
      <p:ext uri="{BB962C8B-B14F-4D97-AF65-F5344CB8AC3E}">
        <p14:creationId xmlns:p14="http://schemas.microsoft.com/office/powerpoint/2010/main" val="1594162677"/>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8_Dark-Blank">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A7FA247-99B5-4ADB-813E-965729C5E268}"/>
              </a:ext>
            </a:extLst>
          </p:cNvPr>
          <p:cNvGraphicFramePr>
            <a:graphicFrameLocks noChangeAspect="1"/>
          </p:cNvGraphicFramePr>
          <p:nvPr userDrawn="1">
            <p:custDataLst>
              <p:tags r:id="rId2"/>
            </p:custDataLst>
            <p:extLst>
              <p:ext uri="{D42A27DB-BD31-4B8C-83A1-F6EECF244321}">
                <p14:modId xmlns:p14="http://schemas.microsoft.com/office/powerpoint/2010/main" val="1258717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432"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8A7FA247-99B5-4ADB-813E-965729C5E26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 name="Picture 3" descr="A picture containing drinking water&#10;&#10;Description generated with high confidence">
            <a:extLst>
              <a:ext uri="{FF2B5EF4-FFF2-40B4-BE49-F238E27FC236}">
                <a16:creationId xmlns:a16="http://schemas.microsoft.com/office/drawing/2014/main" id="{449AB90B-141A-4D47-98E4-F3EE26150E1D}"/>
              </a:ext>
            </a:extLst>
          </p:cNvPr>
          <p:cNvPicPr>
            <a:picLocks noChangeAspect="1"/>
          </p:cNvPicPr>
          <p:nvPr userDrawn="1"/>
        </p:nvPicPr>
        <p:blipFill rotWithShape="1">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t="15691" b="113"/>
          <a:stretch/>
        </p:blipFill>
        <p:spPr>
          <a:xfrm flipH="1">
            <a:off x="-8476" y="0"/>
            <a:ext cx="12200476" cy="6858000"/>
          </a:xfrm>
          <a:prstGeom prst="rect">
            <a:avLst/>
          </a:prstGeom>
        </p:spPr>
      </p:pic>
      <p:pic>
        <p:nvPicPr>
          <p:cNvPr id="16" name="Picture 15">
            <a:extLst>
              <a:ext uri="{FF2B5EF4-FFF2-40B4-BE49-F238E27FC236}">
                <a16:creationId xmlns:a16="http://schemas.microsoft.com/office/drawing/2014/main" id="{C358EB5F-3E28-47CB-8D92-1E05F21BA1E6}"/>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t="13024" b="6351"/>
          <a:stretch/>
        </p:blipFill>
        <p:spPr>
          <a:xfrm>
            <a:off x="184341" y="6023320"/>
            <a:ext cx="1281604" cy="720490"/>
          </a:xfrm>
          <a:prstGeom prst="rect">
            <a:avLst/>
          </a:prstGeom>
          <a:ln>
            <a:noFill/>
          </a:ln>
        </p:spPr>
      </p:pic>
      <p:sp>
        <p:nvSpPr>
          <p:cNvPr id="11" name="Freeform: Shape 10">
            <a:extLst>
              <a:ext uri="{FF2B5EF4-FFF2-40B4-BE49-F238E27FC236}">
                <a16:creationId xmlns:a16="http://schemas.microsoft.com/office/drawing/2014/main" id="{93F12CD0-9A64-4A4C-869E-631619BF557C}"/>
              </a:ext>
            </a:extLst>
          </p:cNvPr>
          <p:cNvSpPr/>
          <p:nvPr userDrawn="1"/>
        </p:nvSpPr>
        <p:spPr>
          <a:xfrm>
            <a:off x="698500" y="-12699"/>
            <a:ext cx="4229100" cy="5682134"/>
          </a:xfrm>
          <a:custGeom>
            <a:avLst/>
            <a:gdLst>
              <a:gd name="connsiteX0" fmla="*/ 0 w 2775588"/>
              <a:gd name="connsiteY0" fmla="*/ 0 h 4548362"/>
              <a:gd name="connsiteX1" fmla="*/ 2775588 w 2775588"/>
              <a:gd name="connsiteY1" fmla="*/ 0 h 4548362"/>
              <a:gd name="connsiteX2" fmla="*/ 2775588 w 2775588"/>
              <a:gd name="connsiteY2" fmla="*/ 3201383 h 4548362"/>
              <a:gd name="connsiteX3" fmla="*/ 2775588 w 2775588"/>
              <a:gd name="connsiteY3" fmla="*/ 3240793 h 4548362"/>
              <a:gd name="connsiteX4" fmla="*/ 2773538 w 2775588"/>
              <a:gd name="connsiteY4" fmla="*/ 3240793 h 4548362"/>
              <a:gd name="connsiteX5" fmla="*/ 2768423 w 2775588"/>
              <a:gd name="connsiteY5" fmla="*/ 3339104 h 4548362"/>
              <a:gd name="connsiteX6" fmla="*/ 1387794 w 2775588"/>
              <a:gd name="connsiteY6" fmla="*/ 4548362 h 4548362"/>
              <a:gd name="connsiteX7" fmla="*/ 7165 w 2775588"/>
              <a:gd name="connsiteY7" fmla="*/ 3339104 h 4548362"/>
              <a:gd name="connsiteX8" fmla="*/ 2051 w 2775588"/>
              <a:gd name="connsiteY8" fmla="*/ 3240793 h 4548362"/>
              <a:gd name="connsiteX9" fmla="*/ 0 w 2775588"/>
              <a:gd name="connsiteY9" fmla="*/ 3240793 h 4548362"/>
              <a:gd name="connsiteX10" fmla="*/ 0 w 2775588"/>
              <a:gd name="connsiteY10" fmla="*/ 3201383 h 4548362"/>
              <a:gd name="connsiteX0" fmla="*/ 7254 w 2782842"/>
              <a:gd name="connsiteY0" fmla="*/ 0 h 4548362"/>
              <a:gd name="connsiteX1" fmla="*/ 2782842 w 2782842"/>
              <a:gd name="connsiteY1" fmla="*/ 0 h 4548362"/>
              <a:gd name="connsiteX2" fmla="*/ 2782842 w 2782842"/>
              <a:gd name="connsiteY2" fmla="*/ 3201383 h 4548362"/>
              <a:gd name="connsiteX3" fmla="*/ 2782842 w 2782842"/>
              <a:gd name="connsiteY3" fmla="*/ 3240793 h 4548362"/>
              <a:gd name="connsiteX4" fmla="*/ 2780792 w 2782842"/>
              <a:gd name="connsiteY4" fmla="*/ 3240793 h 4548362"/>
              <a:gd name="connsiteX5" fmla="*/ 2775677 w 2782842"/>
              <a:gd name="connsiteY5" fmla="*/ 3339104 h 4548362"/>
              <a:gd name="connsiteX6" fmla="*/ 1395048 w 2782842"/>
              <a:gd name="connsiteY6" fmla="*/ 4548362 h 4548362"/>
              <a:gd name="connsiteX7" fmla="*/ 14419 w 2782842"/>
              <a:gd name="connsiteY7" fmla="*/ 3339104 h 4548362"/>
              <a:gd name="connsiteX8" fmla="*/ 9305 w 2782842"/>
              <a:gd name="connsiteY8" fmla="*/ 3240793 h 4548362"/>
              <a:gd name="connsiteX9" fmla="*/ 7254 w 2782842"/>
              <a:gd name="connsiteY9" fmla="*/ 3240793 h 4548362"/>
              <a:gd name="connsiteX10" fmla="*/ 7254 w 2782842"/>
              <a:gd name="connsiteY10" fmla="*/ 3201383 h 4548362"/>
              <a:gd name="connsiteX11" fmla="*/ 0 w 2782842"/>
              <a:gd name="connsiteY11" fmla="*/ 691237 h 4548362"/>
              <a:gd name="connsiteX12" fmla="*/ 7254 w 2782842"/>
              <a:gd name="connsiteY12" fmla="*/ 0 h 4548362"/>
              <a:gd name="connsiteX0" fmla="*/ 0 w 2782842"/>
              <a:gd name="connsiteY0" fmla="*/ 691237 h 4548362"/>
              <a:gd name="connsiteX1" fmla="*/ 2782842 w 2782842"/>
              <a:gd name="connsiteY1" fmla="*/ 0 h 4548362"/>
              <a:gd name="connsiteX2" fmla="*/ 2782842 w 2782842"/>
              <a:gd name="connsiteY2" fmla="*/ 3201383 h 4548362"/>
              <a:gd name="connsiteX3" fmla="*/ 2782842 w 2782842"/>
              <a:gd name="connsiteY3" fmla="*/ 3240793 h 4548362"/>
              <a:gd name="connsiteX4" fmla="*/ 2780792 w 2782842"/>
              <a:gd name="connsiteY4" fmla="*/ 3240793 h 4548362"/>
              <a:gd name="connsiteX5" fmla="*/ 2775677 w 2782842"/>
              <a:gd name="connsiteY5" fmla="*/ 3339104 h 4548362"/>
              <a:gd name="connsiteX6" fmla="*/ 1395048 w 2782842"/>
              <a:gd name="connsiteY6" fmla="*/ 4548362 h 4548362"/>
              <a:gd name="connsiteX7" fmla="*/ 14419 w 2782842"/>
              <a:gd name="connsiteY7" fmla="*/ 3339104 h 4548362"/>
              <a:gd name="connsiteX8" fmla="*/ 9305 w 2782842"/>
              <a:gd name="connsiteY8" fmla="*/ 3240793 h 4548362"/>
              <a:gd name="connsiteX9" fmla="*/ 7254 w 2782842"/>
              <a:gd name="connsiteY9" fmla="*/ 3240793 h 4548362"/>
              <a:gd name="connsiteX10" fmla="*/ 7254 w 2782842"/>
              <a:gd name="connsiteY10" fmla="*/ 3201383 h 4548362"/>
              <a:gd name="connsiteX11" fmla="*/ 0 w 2782842"/>
              <a:gd name="connsiteY11" fmla="*/ 691237 h 4548362"/>
              <a:gd name="connsiteX0" fmla="*/ 0 w 2782842"/>
              <a:gd name="connsiteY0" fmla="*/ 691237 h 4548362"/>
              <a:gd name="connsiteX1" fmla="*/ 2782842 w 2782842"/>
              <a:gd name="connsiteY1" fmla="*/ 0 h 4548362"/>
              <a:gd name="connsiteX2" fmla="*/ 2774485 w 2782842"/>
              <a:gd name="connsiteY2" fmla="*/ 699857 h 4548362"/>
              <a:gd name="connsiteX3" fmla="*/ 2782842 w 2782842"/>
              <a:gd name="connsiteY3" fmla="*/ 3201383 h 4548362"/>
              <a:gd name="connsiteX4" fmla="*/ 2782842 w 2782842"/>
              <a:gd name="connsiteY4" fmla="*/ 3240793 h 4548362"/>
              <a:gd name="connsiteX5" fmla="*/ 2780792 w 2782842"/>
              <a:gd name="connsiteY5" fmla="*/ 3240793 h 4548362"/>
              <a:gd name="connsiteX6" fmla="*/ 2775677 w 2782842"/>
              <a:gd name="connsiteY6" fmla="*/ 3339104 h 4548362"/>
              <a:gd name="connsiteX7" fmla="*/ 1395048 w 2782842"/>
              <a:gd name="connsiteY7" fmla="*/ 4548362 h 4548362"/>
              <a:gd name="connsiteX8" fmla="*/ 14419 w 2782842"/>
              <a:gd name="connsiteY8" fmla="*/ 3339104 h 4548362"/>
              <a:gd name="connsiteX9" fmla="*/ 9305 w 2782842"/>
              <a:gd name="connsiteY9" fmla="*/ 3240793 h 4548362"/>
              <a:gd name="connsiteX10" fmla="*/ 7254 w 2782842"/>
              <a:gd name="connsiteY10" fmla="*/ 3240793 h 4548362"/>
              <a:gd name="connsiteX11" fmla="*/ 7254 w 2782842"/>
              <a:gd name="connsiteY11" fmla="*/ 3201383 h 4548362"/>
              <a:gd name="connsiteX12" fmla="*/ 0 w 2782842"/>
              <a:gd name="connsiteY12" fmla="*/ 691237 h 4548362"/>
              <a:gd name="connsiteX0" fmla="*/ 0 w 2782842"/>
              <a:gd name="connsiteY0" fmla="*/ 0 h 3857125"/>
              <a:gd name="connsiteX1" fmla="*/ 2774485 w 2782842"/>
              <a:gd name="connsiteY1" fmla="*/ 8620 h 3857125"/>
              <a:gd name="connsiteX2" fmla="*/ 2782842 w 2782842"/>
              <a:gd name="connsiteY2" fmla="*/ 2510146 h 3857125"/>
              <a:gd name="connsiteX3" fmla="*/ 2782842 w 2782842"/>
              <a:gd name="connsiteY3" fmla="*/ 2549556 h 3857125"/>
              <a:gd name="connsiteX4" fmla="*/ 2780792 w 2782842"/>
              <a:gd name="connsiteY4" fmla="*/ 2549556 h 3857125"/>
              <a:gd name="connsiteX5" fmla="*/ 2775677 w 2782842"/>
              <a:gd name="connsiteY5" fmla="*/ 2647867 h 3857125"/>
              <a:gd name="connsiteX6" fmla="*/ 1395048 w 2782842"/>
              <a:gd name="connsiteY6" fmla="*/ 3857125 h 3857125"/>
              <a:gd name="connsiteX7" fmla="*/ 14419 w 2782842"/>
              <a:gd name="connsiteY7" fmla="*/ 2647867 h 3857125"/>
              <a:gd name="connsiteX8" fmla="*/ 9305 w 2782842"/>
              <a:gd name="connsiteY8" fmla="*/ 2549556 h 3857125"/>
              <a:gd name="connsiteX9" fmla="*/ 7254 w 2782842"/>
              <a:gd name="connsiteY9" fmla="*/ 2549556 h 3857125"/>
              <a:gd name="connsiteX10" fmla="*/ 7254 w 2782842"/>
              <a:gd name="connsiteY10" fmla="*/ 2510146 h 3857125"/>
              <a:gd name="connsiteX11" fmla="*/ 0 w 2782842"/>
              <a:gd name="connsiteY11" fmla="*/ 0 h 385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82842" h="3857125">
                <a:moveTo>
                  <a:pt x="0" y="0"/>
                </a:moveTo>
                <a:lnTo>
                  <a:pt x="2774485" y="8620"/>
                </a:lnTo>
                <a:cubicBezTo>
                  <a:pt x="2777271" y="842462"/>
                  <a:pt x="2780056" y="1676304"/>
                  <a:pt x="2782842" y="2510146"/>
                </a:cubicBezTo>
                <a:lnTo>
                  <a:pt x="2782842" y="2549556"/>
                </a:lnTo>
                <a:lnTo>
                  <a:pt x="2780792" y="2549556"/>
                </a:lnTo>
                <a:lnTo>
                  <a:pt x="2775677" y="2647867"/>
                </a:lnTo>
                <a:cubicBezTo>
                  <a:pt x="2704608" y="3327090"/>
                  <a:pt x="2113603" y="3857125"/>
                  <a:pt x="1395048" y="3857125"/>
                </a:cubicBezTo>
                <a:cubicBezTo>
                  <a:pt x="676494" y="3857125"/>
                  <a:pt x="85488" y="3327090"/>
                  <a:pt x="14419" y="2647867"/>
                </a:cubicBezTo>
                <a:lnTo>
                  <a:pt x="9305" y="2549556"/>
                </a:lnTo>
                <a:lnTo>
                  <a:pt x="7254" y="2549556"/>
                </a:lnTo>
                <a:lnTo>
                  <a:pt x="7254" y="2510146"/>
                </a:lnTo>
                <a:lnTo>
                  <a:pt x="0" y="0"/>
                </a:lnTo>
                <a:close/>
              </a:path>
            </a:pathLst>
          </a:cu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Oval 4">
            <a:extLst>
              <a:ext uri="{FF2B5EF4-FFF2-40B4-BE49-F238E27FC236}">
                <a16:creationId xmlns:a16="http://schemas.microsoft.com/office/drawing/2014/main" id="{DFEB8344-58E9-4A42-B97E-8FB6F220BDD2}"/>
              </a:ext>
            </a:extLst>
          </p:cNvPr>
          <p:cNvSpPr/>
          <p:nvPr userDrawn="1"/>
        </p:nvSpPr>
        <p:spPr>
          <a:xfrm>
            <a:off x="958252" y="1567850"/>
            <a:ext cx="3722300" cy="3722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97FEB855-CC00-436D-B320-4C9C4E5F9B97}"/>
              </a:ext>
            </a:extLst>
          </p:cNvPr>
          <p:cNvSpPr/>
          <p:nvPr userDrawn="1"/>
        </p:nvSpPr>
        <p:spPr>
          <a:xfrm>
            <a:off x="1066802" y="1676400"/>
            <a:ext cx="3505200" cy="3505200"/>
          </a:xfrm>
          <a:prstGeom prst="ellipse">
            <a:avLst/>
          </a:prstGeom>
          <a:solidFill>
            <a:schemeClr val="accent2"/>
          </a:solidFill>
          <a:ln>
            <a:solidFill>
              <a:schemeClr val="bg1"/>
            </a:solidFill>
          </a:ln>
          <a:effectLst>
            <a:outerShdw blurRad="63500" sx="101000" sy="101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5">
            <a:extLst>
              <a:ext uri="{FF2B5EF4-FFF2-40B4-BE49-F238E27FC236}">
                <a16:creationId xmlns:a16="http://schemas.microsoft.com/office/drawing/2014/main" id="{A2B05A90-C33E-4329-864E-6B67C04C1DCA}"/>
              </a:ext>
            </a:extLst>
          </p:cNvPr>
          <p:cNvSpPr>
            <a:spLocks noGrp="1"/>
          </p:cNvSpPr>
          <p:nvPr>
            <p:ph type="body" sz="quarter" idx="11" hasCustomPrompt="1"/>
          </p:nvPr>
        </p:nvSpPr>
        <p:spPr>
          <a:xfrm>
            <a:off x="1340223" y="4092461"/>
            <a:ext cx="2958359" cy="249299"/>
          </a:xfrm>
          <a:prstGeom prst="rect">
            <a:avLst/>
          </a:prstGeom>
        </p:spPr>
        <p:txBody>
          <a:bodyPr wrap="square" lIns="0" tIns="0" rIns="0" bIns="0">
            <a:spAutoFit/>
          </a:bodyPr>
          <a:lstStyle>
            <a:lvl1pPr marL="0" indent="0" algn="ctr">
              <a:buNone/>
              <a:defRPr sz="1800" b="0">
                <a:solidFill>
                  <a:schemeClr val="bg1"/>
                </a:solidFill>
                <a:latin typeface="+mn-lt"/>
              </a:defRPr>
            </a:lvl1pPr>
          </a:lstStyle>
          <a:p>
            <a:pPr lvl="0"/>
            <a:r>
              <a:rPr lang="en-US" dirty="0"/>
              <a:t>Sub Title</a:t>
            </a:r>
          </a:p>
        </p:txBody>
      </p:sp>
      <p:sp>
        <p:nvSpPr>
          <p:cNvPr id="12" name="Text Placeholder 5">
            <a:extLst>
              <a:ext uri="{FF2B5EF4-FFF2-40B4-BE49-F238E27FC236}">
                <a16:creationId xmlns:a16="http://schemas.microsoft.com/office/drawing/2014/main" id="{A474E466-694C-43FC-AEEE-4EDA6C471091}"/>
              </a:ext>
            </a:extLst>
          </p:cNvPr>
          <p:cNvSpPr>
            <a:spLocks noGrp="1"/>
          </p:cNvSpPr>
          <p:nvPr>
            <p:ph type="body" sz="quarter" idx="10" hasCustomPrompt="1"/>
          </p:nvPr>
        </p:nvSpPr>
        <p:spPr>
          <a:xfrm>
            <a:off x="1148755" y="2690337"/>
            <a:ext cx="3341296" cy="1477328"/>
          </a:xfrm>
          <a:prstGeom prst="rect">
            <a:avLst/>
          </a:prstGeom>
        </p:spPr>
        <p:txBody>
          <a:bodyPr wrap="square" lIns="0" tIns="0" rIns="0" bIns="0" anchor="ctr" anchorCtr="0">
            <a:spAutoFit/>
          </a:bodyPr>
          <a:lstStyle>
            <a:lvl1pPr marL="0" indent="0" algn="ctr">
              <a:lnSpc>
                <a:spcPct val="100000"/>
              </a:lnSpc>
              <a:buNone/>
              <a:defRPr sz="4800" b="1">
                <a:solidFill>
                  <a:schemeClr val="bg1"/>
                </a:solidFill>
                <a:latin typeface="+mj-lt"/>
              </a:defRPr>
            </a:lvl1pPr>
          </a:lstStyle>
          <a:p>
            <a:pPr lvl="0"/>
            <a:r>
              <a:rPr lang="en-US" dirty="0"/>
              <a:t>Title of the presentation</a:t>
            </a:r>
          </a:p>
        </p:txBody>
      </p:sp>
      <p:cxnSp>
        <p:nvCxnSpPr>
          <p:cNvPr id="8" name="Straight Connector 7">
            <a:extLst>
              <a:ext uri="{FF2B5EF4-FFF2-40B4-BE49-F238E27FC236}">
                <a16:creationId xmlns:a16="http://schemas.microsoft.com/office/drawing/2014/main" id="{56E00952-F1E8-4D2F-AB42-684E4D8EFF97}"/>
              </a:ext>
            </a:extLst>
          </p:cNvPr>
          <p:cNvCxnSpPr/>
          <p:nvPr userDrawn="1"/>
        </p:nvCxnSpPr>
        <p:spPr>
          <a:xfrm>
            <a:off x="1340223" y="2826575"/>
            <a:ext cx="295835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31FEA1A-468A-4403-BF48-8D170BCAA1C0}"/>
              </a:ext>
            </a:extLst>
          </p:cNvPr>
          <p:cNvCxnSpPr/>
          <p:nvPr userDrawn="1"/>
        </p:nvCxnSpPr>
        <p:spPr>
          <a:xfrm>
            <a:off x="1340223" y="4031426"/>
            <a:ext cx="2958359"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995969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Dark-Blank">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A7FA247-99B5-4ADB-813E-965729C5E268}"/>
              </a:ext>
            </a:extLst>
          </p:cNvPr>
          <p:cNvGraphicFramePr>
            <a:graphicFrameLocks noChangeAspect="1"/>
          </p:cNvGraphicFramePr>
          <p:nvPr userDrawn="1">
            <p:custDataLst>
              <p:tags r:id="rId2"/>
            </p:custDataLst>
            <p:extLst>
              <p:ext uri="{D42A27DB-BD31-4B8C-83A1-F6EECF244321}">
                <p14:modId xmlns:p14="http://schemas.microsoft.com/office/powerpoint/2010/main" val="3723884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403"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8A7FA247-99B5-4ADB-813E-965729C5E26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5">
            <a:extLst>
              <a:ext uri="{FF2B5EF4-FFF2-40B4-BE49-F238E27FC236}">
                <a16:creationId xmlns:a16="http://schemas.microsoft.com/office/drawing/2014/main" id="{A2B05A90-C33E-4329-864E-6B67C04C1DCA}"/>
              </a:ext>
            </a:extLst>
          </p:cNvPr>
          <p:cNvSpPr>
            <a:spLocks noGrp="1"/>
          </p:cNvSpPr>
          <p:nvPr>
            <p:ph type="body" sz="quarter" idx="11" hasCustomPrompt="1"/>
          </p:nvPr>
        </p:nvSpPr>
        <p:spPr>
          <a:xfrm>
            <a:off x="309643" y="4192360"/>
            <a:ext cx="4586207" cy="249299"/>
          </a:xfrm>
          <a:prstGeom prst="rect">
            <a:avLst/>
          </a:prstGeom>
        </p:spPr>
        <p:txBody>
          <a:bodyPr wrap="square" lIns="0" tIns="0" rIns="0" bIns="0">
            <a:spAutoFit/>
          </a:bodyPr>
          <a:lstStyle>
            <a:lvl1pPr marL="0" indent="0" algn="ctr">
              <a:buNone/>
              <a:defRPr sz="1800" b="0">
                <a:solidFill>
                  <a:schemeClr val="bg1"/>
                </a:solidFill>
                <a:latin typeface="+mn-lt"/>
              </a:defRPr>
            </a:lvl1pPr>
          </a:lstStyle>
          <a:p>
            <a:pPr lvl="0"/>
            <a:r>
              <a:rPr lang="en-US" dirty="0"/>
              <a:t>Sub Title</a:t>
            </a:r>
          </a:p>
        </p:txBody>
      </p:sp>
      <p:sp>
        <p:nvSpPr>
          <p:cNvPr id="12" name="Text Placeholder 5">
            <a:extLst>
              <a:ext uri="{FF2B5EF4-FFF2-40B4-BE49-F238E27FC236}">
                <a16:creationId xmlns:a16="http://schemas.microsoft.com/office/drawing/2014/main" id="{A474E466-694C-43FC-AEEE-4EDA6C471091}"/>
              </a:ext>
            </a:extLst>
          </p:cNvPr>
          <p:cNvSpPr>
            <a:spLocks noGrp="1"/>
          </p:cNvSpPr>
          <p:nvPr>
            <p:ph type="body" sz="quarter" idx="10" hasCustomPrompt="1"/>
          </p:nvPr>
        </p:nvSpPr>
        <p:spPr>
          <a:xfrm>
            <a:off x="309643" y="2794546"/>
            <a:ext cx="4586207" cy="1231106"/>
          </a:xfrm>
          <a:prstGeom prst="rect">
            <a:avLst/>
          </a:prstGeom>
        </p:spPr>
        <p:txBody>
          <a:bodyPr wrap="square" lIns="0" tIns="0" rIns="0" bIns="0" anchor="t" anchorCtr="0">
            <a:spAutoFit/>
          </a:bodyPr>
          <a:lstStyle>
            <a:lvl1pPr marL="0" indent="0" algn="ctr">
              <a:lnSpc>
                <a:spcPct val="100000"/>
              </a:lnSpc>
              <a:buNone/>
              <a:defRPr sz="4000" b="1">
                <a:solidFill>
                  <a:schemeClr val="bg1"/>
                </a:solidFill>
                <a:latin typeface="+mj-lt"/>
              </a:defRPr>
            </a:lvl1pPr>
          </a:lstStyle>
          <a:p>
            <a:pPr lvl="0"/>
            <a:r>
              <a:rPr lang="en-US" dirty="0"/>
              <a:t>Title of the presentation</a:t>
            </a:r>
          </a:p>
        </p:txBody>
      </p:sp>
    </p:spTree>
    <p:extLst>
      <p:ext uri="{BB962C8B-B14F-4D97-AF65-F5344CB8AC3E}">
        <p14:creationId xmlns:p14="http://schemas.microsoft.com/office/powerpoint/2010/main" val="408269343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Dark-Biru">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A24F055-AA54-4325-9C71-F7532285A559}"/>
              </a:ext>
            </a:extLst>
          </p:cNvPr>
          <p:cNvGraphicFramePr>
            <a:graphicFrameLocks noChangeAspect="1"/>
          </p:cNvGraphicFramePr>
          <p:nvPr userDrawn="1">
            <p:custDataLst>
              <p:tags r:id="rId2"/>
            </p:custDataLst>
            <p:extLst>
              <p:ext uri="{D42A27DB-BD31-4B8C-83A1-F6EECF244321}">
                <p14:modId xmlns:p14="http://schemas.microsoft.com/office/powerpoint/2010/main" val="12797342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104" name="think-cell Slide" r:id="rId4" imgW="347" imgH="348" progId="TCLayout.ActiveDocument.1">
                  <p:embed/>
                </p:oleObj>
              </mc:Choice>
              <mc:Fallback>
                <p:oleObj name="think-cell Slide" r:id="rId4" imgW="347" imgH="348" progId="TCLayout.ActiveDocument.1">
                  <p:embed/>
                  <p:pic>
                    <p:nvPicPr>
                      <p:cNvPr id="13" name="Object 12" hidden="1">
                        <a:extLst>
                          <a:ext uri="{FF2B5EF4-FFF2-40B4-BE49-F238E27FC236}">
                            <a16:creationId xmlns:a16="http://schemas.microsoft.com/office/drawing/2014/main" id="{7A24F055-AA54-4325-9C71-F7532285A55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Placeholder 1">
            <a:extLst>
              <a:ext uri="{FF2B5EF4-FFF2-40B4-BE49-F238E27FC236}">
                <a16:creationId xmlns:a16="http://schemas.microsoft.com/office/drawing/2014/main" id="{3298787C-A7C8-4C5D-B4BF-2BA6DB36840F}"/>
              </a:ext>
            </a:extLst>
          </p:cNvPr>
          <p:cNvSpPr>
            <a:spLocks noGrp="1"/>
          </p:cNvSpPr>
          <p:nvPr>
            <p:ph type="title" hasCustomPrompt="1"/>
          </p:nvPr>
        </p:nvSpPr>
        <p:spPr>
          <a:xfrm>
            <a:off x="274297" y="513271"/>
            <a:ext cx="10571754" cy="430887"/>
          </a:xfrm>
          <a:prstGeom prst="rect">
            <a:avLst/>
          </a:prstGeom>
        </p:spPr>
        <p:txBody>
          <a:bodyPr vert="horz" wrap="square" lIns="0" tIns="0" rIns="0" bIns="0" rtlCol="0" anchor="b" anchorCtr="0">
            <a:spAutoFit/>
          </a:bodyPr>
          <a:lstStyle>
            <a:lvl1pPr>
              <a:lnSpc>
                <a:spcPct val="100000"/>
              </a:lnSpc>
              <a:defRPr sz="2800" b="0">
                <a:solidFill>
                  <a:schemeClr val="accent5"/>
                </a:solidFill>
              </a:defRPr>
            </a:lvl1pPr>
          </a:lstStyle>
          <a:p>
            <a:r>
              <a:rPr lang="en-US" dirty="0"/>
              <a:t>Click to edit title</a:t>
            </a:r>
            <a:endParaRPr lang="id-ID" dirty="0"/>
          </a:p>
        </p:txBody>
      </p:sp>
      <p:sp>
        <p:nvSpPr>
          <p:cNvPr id="4" name="Text Placeholder 3">
            <a:extLst>
              <a:ext uri="{FF2B5EF4-FFF2-40B4-BE49-F238E27FC236}">
                <a16:creationId xmlns:a16="http://schemas.microsoft.com/office/drawing/2014/main" id="{B3A8D48C-FF00-466B-B54C-2DCF18712128}"/>
              </a:ext>
            </a:extLst>
          </p:cNvPr>
          <p:cNvSpPr>
            <a:spLocks noGrp="1"/>
          </p:cNvSpPr>
          <p:nvPr>
            <p:ph type="body" sz="quarter" idx="11"/>
          </p:nvPr>
        </p:nvSpPr>
        <p:spPr>
          <a:xfrm>
            <a:off x="274296" y="1189443"/>
            <a:ext cx="11656879" cy="737638"/>
          </a:xfrm>
          <a:prstGeom prst="rect">
            <a:avLst/>
          </a:prstGeom>
        </p:spPr>
        <p:txBody>
          <a:bodyPr wrap="square">
            <a:spAutoFit/>
          </a:bodyPr>
          <a:lstStyle>
            <a:lvl1pPr marL="228600" indent="-228600">
              <a:buClr>
                <a:schemeClr val="accent4"/>
              </a:buClr>
              <a:buFont typeface="Arial" panose="020B0604020202020204" pitchFamily="34" charset="0"/>
              <a:buChar char="•"/>
              <a:defRPr sz="1400">
                <a:solidFill>
                  <a:schemeClr val="bg2"/>
                </a:solidFill>
              </a:defRPr>
            </a:lvl1pPr>
            <a:lvl2pPr>
              <a:buClr>
                <a:schemeClr val="accent4"/>
              </a:buClr>
              <a:defRPr sz="1400">
                <a:solidFill>
                  <a:schemeClr val="bg2"/>
                </a:solidFill>
              </a:defRPr>
            </a:lvl2pPr>
            <a:lvl3pPr marL="865188" indent="-285750">
              <a:buClr>
                <a:schemeClr val="accent4"/>
              </a:buClr>
              <a:buSzPct val="75000"/>
              <a:buFont typeface="Courier New" panose="02070309020205020404" pitchFamily="49" charset="0"/>
              <a:buChar char="o"/>
              <a:defRPr sz="1400">
                <a:solidFill>
                  <a:schemeClr val="bg2"/>
                </a:solidFill>
              </a:defRPr>
            </a:lvl3pPr>
          </a:lstStyle>
          <a:p>
            <a:pPr lvl="0"/>
            <a:r>
              <a:rPr lang="en-US" dirty="0"/>
              <a:t>Edit Master text styles</a:t>
            </a:r>
          </a:p>
          <a:p>
            <a:pPr lvl="1"/>
            <a:r>
              <a:rPr lang="en-US" dirty="0"/>
              <a:t>Second level</a:t>
            </a:r>
          </a:p>
          <a:p>
            <a:pPr lvl="2"/>
            <a:r>
              <a:rPr lang="en-US" dirty="0"/>
              <a:t>Third level</a:t>
            </a:r>
          </a:p>
        </p:txBody>
      </p:sp>
      <p:sp>
        <p:nvSpPr>
          <p:cNvPr id="9" name="TextBox 8">
            <a:extLst>
              <a:ext uri="{FF2B5EF4-FFF2-40B4-BE49-F238E27FC236}">
                <a16:creationId xmlns:a16="http://schemas.microsoft.com/office/drawing/2014/main" id="{6841DC90-B65C-4E61-A1C1-E87FAC355AEA}"/>
              </a:ext>
            </a:extLst>
          </p:cNvPr>
          <p:cNvSpPr txBox="1"/>
          <p:nvPr userDrawn="1"/>
        </p:nvSpPr>
        <p:spPr>
          <a:xfrm>
            <a:off x="11912126" y="6630500"/>
            <a:ext cx="197798" cy="153888"/>
          </a:xfrm>
          <a:prstGeom prst="rect">
            <a:avLst/>
          </a:prstGeom>
          <a:noFill/>
        </p:spPr>
        <p:txBody>
          <a:bodyPr wrap="square" lIns="0" tIns="0" rIns="0" bIns="0" rtlCol="0" anchor="ctr" anchorCtr="0">
            <a:spAutoFit/>
          </a:bodyPr>
          <a:lstStyle/>
          <a:p>
            <a:pPr algn="r"/>
            <a:fld id="{260E2A6B-A809-4840-BF14-8648BC0BDF87}" type="slidenum">
              <a:rPr lang="id-ID" sz="1000" b="0" smtClean="0">
                <a:solidFill>
                  <a:schemeClr val="bg2"/>
                </a:solidFill>
              </a:rPr>
              <a:pPr algn="r"/>
              <a:t>‹#›</a:t>
            </a:fld>
            <a:endParaRPr lang="id-ID" sz="1000" b="0" dirty="0">
              <a:solidFill>
                <a:schemeClr val="bg2"/>
              </a:solidFill>
            </a:endParaRPr>
          </a:p>
        </p:txBody>
      </p:sp>
      <p:cxnSp>
        <p:nvCxnSpPr>
          <p:cNvPr id="6" name="Straight Connector 5">
            <a:extLst>
              <a:ext uri="{FF2B5EF4-FFF2-40B4-BE49-F238E27FC236}">
                <a16:creationId xmlns:a16="http://schemas.microsoft.com/office/drawing/2014/main" id="{39426E88-BC02-4F2E-B397-F91CF1D052B0}"/>
              </a:ext>
            </a:extLst>
          </p:cNvPr>
          <p:cNvCxnSpPr/>
          <p:nvPr userDrawn="1"/>
        </p:nvCxnSpPr>
        <p:spPr>
          <a:xfrm>
            <a:off x="274297" y="1019175"/>
            <a:ext cx="11643407" cy="0"/>
          </a:xfrm>
          <a:prstGeom prst="line">
            <a:avLst/>
          </a:prstGeom>
          <a:ln w="19050">
            <a:solidFill>
              <a:schemeClr val="accent2"/>
            </a:solidFill>
            <a:tailEnd type="ova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8A0818E9-A4B1-448A-B6E9-C1097437A5A3}"/>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t="13024" b="6351"/>
          <a:stretch/>
        </p:blipFill>
        <p:spPr>
          <a:xfrm>
            <a:off x="10978646" y="460375"/>
            <a:ext cx="889504" cy="500063"/>
          </a:xfrm>
          <a:prstGeom prst="rect">
            <a:avLst/>
          </a:prstGeom>
        </p:spPr>
      </p:pic>
    </p:spTree>
    <p:extLst>
      <p:ext uri="{BB962C8B-B14F-4D97-AF65-F5344CB8AC3E}">
        <p14:creationId xmlns:p14="http://schemas.microsoft.com/office/powerpoint/2010/main" val="1851212015"/>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Dark-Biru">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A24F055-AA54-4325-9C71-F7532285A559}"/>
              </a:ext>
            </a:extLst>
          </p:cNvPr>
          <p:cNvGraphicFramePr>
            <a:graphicFrameLocks noChangeAspect="1"/>
          </p:cNvGraphicFramePr>
          <p:nvPr userDrawn="1">
            <p:custDataLst>
              <p:tags r:id="rId2"/>
            </p:custDataLst>
            <p:extLst>
              <p:ext uri="{D42A27DB-BD31-4B8C-83A1-F6EECF244321}">
                <p14:modId xmlns:p14="http://schemas.microsoft.com/office/powerpoint/2010/main" val="7966157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450" name="think-cell Slide" r:id="rId4" imgW="347" imgH="348" progId="TCLayout.ActiveDocument.1">
                  <p:embed/>
                </p:oleObj>
              </mc:Choice>
              <mc:Fallback>
                <p:oleObj name="think-cell Slide" r:id="rId4" imgW="347" imgH="348" progId="TCLayout.ActiveDocument.1">
                  <p:embed/>
                  <p:pic>
                    <p:nvPicPr>
                      <p:cNvPr id="13" name="Object 12" hidden="1">
                        <a:extLst>
                          <a:ext uri="{FF2B5EF4-FFF2-40B4-BE49-F238E27FC236}">
                            <a16:creationId xmlns:a16="http://schemas.microsoft.com/office/drawing/2014/main" id="{7A24F055-AA54-4325-9C71-F7532285A55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Placeholder 1">
            <a:extLst>
              <a:ext uri="{FF2B5EF4-FFF2-40B4-BE49-F238E27FC236}">
                <a16:creationId xmlns:a16="http://schemas.microsoft.com/office/drawing/2014/main" id="{3298787C-A7C8-4C5D-B4BF-2BA6DB36840F}"/>
              </a:ext>
            </a:extLst>
          </p:cNvPr>
          <p:cNvSpPr>
            <a:spLocks noGrp="1"/>
          </p:cNvSpPr>
          <p:nvPr>
            <p:ph type="title" hasCustomPrompt="1"/>
          </p:nvPr>
        </p:nvSpPr>
        <p:spPr>
          <a:xfrm>
            <a:off x="274297" y="513271"/>
            <a:ext cx="11656877" cy="430887"/>
          </a:xfrm>
          <a:prstGeom prst="rect">
            <a:avLst/>
          </a:prstGeom>
        </p:spPr>
        <p:txBody>
          <a:bodyPr vert="horz" wrap="square" lIns="0" tIns="0" rIns="0" bIns="0" rtlCol="0" anchor="b" anchorCtr="0">
            <a:spAutoFit/>
          </a:bodyPr>
          <a:lstStyle>
            <a:lvl1pPr>
              <a:lnSpc>
                <a:spcPct val="100000"/>
              </a:lnSpc>
              <a:defRPr sz="2800" b="0">
                <a:solidFill>
                  <a:schemeClr val="accent5"/>
                </a:solidFill>
              </a:defRPr>
            </a:lvl1pPr>
          </a:lstStyle>
          <a:p>
            <a:r>
              <a:rPr lang="en-US" dirty="0"/>
              <a:t>Click to edit title</a:t>
            </a:r>
            <a:endParaRPr lang="id-ID" dirty="0"/>
          </a:p>
        </p:txBody>
      </p:sp>
      <p:sp>
        <p:nvSpPr>
          <p:cNvPr id="4" name="Text Placeholder 3">
            <a:extLst>
              <a:ext uri="{FF2B5EF4-FFF2-40B4-BE49-F238E27FC236}">
                <a16:creationId xmlns:a16="http://schemas.microsoft.com/office/drawing/2014/main" id="{B3A8D48C-FF00-466B-B54C-2DCF18712128}"/>
              </a:ext>
            </a:extLst>
          </p:cNvPr>
          <p:cNvSpPr>
            <a:spLocks noGrp="1"/>
          </p:cNvSpPr>
          <p:nvPr>
            <p:ph type="body" sz="quarter" idx="11"/>
          </p:nvPr>
        </p:nvSpPr>
        <p:spPr>
          <a:xfrm>
            <a:off x="274296" y="1189443"/>
            <a:ext cx="11656879" cy="737638"/>
          </a:xfrm>
          <a:prstGeom prst="rect">
            <a:avLst/>
          </a:prstGeom>
        </p:spPr>
        <p:txBody>
          <a:bodyPr wrap="square">
            <a:spAutoFit/>
          </a:bodyPr>
          <a:lstStyle>
            <a:lvl1pPr marL="228600" indent="-228600">
              <a:buClr>
                <a:schemeClr val="accent4"/>
              </a:buClr>
              <a:buFont typeface="Arial" panose="020B0604020202020204" pitchFamily="34" charset="0"/>
              <a:buChar char="•"/>
              <a:defRPr sz="1400">
                <a:solidFill>
                  <a:schemeClr val="bg2"/>
                </a:solidFill>
              </a:defRPr>
            </a:lvl1pPr>
            <a:lvl2pPr>
              <a:buClr>
                <a:schemeClr val="accent4"/>
              </a:buClr>
              <a:defRPr sz="1400">
                <a:solidFill>
                  <a:schemeClr val="bg2"/>
                </a:solidFill>
              </a:defRPr>
            </a:lvl2pPr>
            <a:lvl3pPr marL="865188" indent="-285750">
              <a:buClr>
                <a:schemeClr val="accent4"/>
              </a:buClr>
              <a:buSzPct val="75000"/>
              <a:buFont typeface="Courier New" panose="02070309020205020404" pitchFamily="49" charset="0"/>
              <a:buChar char="o"/>
              <a:defRPr sz="1400">
                <a:solidFill>
                  <a:schemeClr val="bg2"/>
                </a:solidFill>
              </a:defRPr>
            </a:lvl3pPr>
          </a:lstStyle>
          <a:p>
            <a:pPr lvl="0"/>
            <a:r>
              <a:rPr lang="en-US" dirty="0"/>
              <a:t>Edit Master text styles</a:t>
            </a:r>
          </a:p>
          <a:p>
            <a:pPr lvl="1"/>
            <a:r>
              <a:rPr lang="en-US" dirty="0"/>
              <a:t>Second level</a:t>
            </a:r>
          </a:p>
          <a:p>
            <a:pPr lvl="2"/>
            <a:r>
              <a:rPr lang="en-US" dirty="0"/>
              <a:t>Third level</a:t>
            </a:r>
          </a:p>
        </p:txBody>
      </p:sp>
      <p:sp>
        <p:nvSpPr>
          <p:cNvPr id="9" name="TextBox 8">
            <a:extLst>
              <a:ext uri="{FF2B5EF4-FFF2-40B4-BE49-F238E27FC236}">
                <a16:creationId xmlns:a16="http://schemas.microsoft.com/office/drawing/2014/main" id="{6841DC90-B65C-4E61-A1C1-E87FAC355AEA}"/>
              </a:ext>
            </a:extLst>
          </p:cNvPr>
          <p:cNvSpPr txBox="1"/>
          <p:nvPr userDrawn="1"/>
        </p:nvSpPr>
        <p:spPr>
          <a:xfrm>
            <a:off x="11912126" y="6630500"/>
            <a:ext cx="197798" cy="153888"/>
          </a:xfrm>
          <a:prstGeom prst="rect">
            <a:avLst/>
          </a:prstGeom>
          <a:noFill/>
        </p:spPr>
        <p:txBody>
          <a:bodyPr wrap="square" lIns="0" tIns="0" rIns="0" bIns="0" rtlCol="0" anchor="ctr" anchorCtr="0">
            <a:spAutoFit/>
          </a:bodyPr>
          <a:lstStyle/>
          <a:p>
            <a:pPr algn="r"/>
            <a:fld id="{260E2A6B-A809-4840-BF14-8648BC0BDF87}" type="slidenum">
              <a:rPr lang="id-ID" sz="1000" b="0" smtClean="0">
                <a:solidFill>
                  <a:schemeClr val="bg2"/>
                </a:solidFill>
              </a:rPr>
              <a:pPr algn="r"/>
              <a:t>‹#›</a:t>
            </a:fld>
            <a:endParaRPr lang="id-ID" sz="1000" b="0" dirty="0">
              <a:solidFill>
                <a:schemeClr val="bg2"/>
              </a:solidFill>
            </a:endParaRPr>
          </a:p>
        </p:txBody>
      </p:sp>
    </p:spTree>
    <p:extLst>
      <p:ext uri="{BB962C8B-B14F-4D97-AF65-F5344CB8AC3E}">
        <p14:creationId xmlns:p14="http://schemas.microsoft.com/office/powerpoint/2010/main" val="83746110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Click to edit Master title style</a:t>
            </a:r>
            <a:endParaRPr lang="en-US" dirty="0"/>
          </a:p>
        </p:txBody>
      </p:sp>
      <p:sp>
        <p:nvSpPr>
          <p:cNvPr id="3" name="Content Placeholder 2"/>
          <p:cNvSpPr>
            <a:spLocks noGrp="1"/>
          </p:cNvSpPr>
          <p:nvPr>
            <p:ph idx="1"/>
          </p:nvPr>
        </p:nvSpPr>
        <p:spPr>
          <a:xfrm>
            <a:off x="323850" y="983904"/>
            <a:ext cx="11544299" cy="1281376"/>
          </a:xfrm>
        </p:spPr>
        <p:txBody>
          <a:bodyPr/>
          <a:lstStyle/>
          <a:p>
            <a:pPr lvl="0"/>
            <a:r>
              <a:rPr lang="es-ES"/>
              <a:t>Click to edit Master text styles</a:t>
            </a:r>
          </a:p>
          <a:p>
            <a:pPr lvl="1"/>
            <a:r>
              <a:rPr lang="es-ES"/>
              <a:t>Second level</a:t>
            </a:r>
          </a:p>
          <a:p>
            <a:pPr lvl="2"/>
            <a:r>
              <a:rPr lang="es-ES"/>
              <a:t>Third level</a:t>
            </a:r>
          </a:p>
          <a:p>
            <a:pPr lvl="3"/>
            <a:r>
              <a:rPr lang="es-ES"/>
              <a:t>Fourth level</a:t>
            </a:r>
          </a:p>
          <a:p>
            <a:pPr lvl="4"/>
            <a:r>
              <a:rPr lang="es-ES"/>
              <a:t>Fifth level</a:t>
            </a:r>
            <a:endParaRPr lang="en-US" dirty="0"/>
          </a:p>
        </p:txBody>
      </p:sp>
      <p:sp>
        <p:nvSpPr>
          <p:cNvPr id="4" name="Date Placeholder 3"/>
          <p:cNvSpPr>
            <a:spLocks noGrp="1"/>
          </p:cNvSpPr>
          <p:nvPr>
            <p:ph type="dt" sz="half" idx="10"/>
          </p:nvPr>
        </p:nvSpPr>
        <p:spPr/>
        <p:txBody>
          <a:bodyPr/>
          <a:lstStyle/>
          <a:p>
            <a:fld id="{9D324506-4229-2448-A01C-FDF262102D32}" type="datetimeFigureOut">
              <a:rPr lang="en-US" smtClean="0">
                <a:solidFill>
                  <a:prstClr val="black">
                    <a:tint val="75000"/>
                  </a:prstClr>
                </a:solidFill>
                <a:latin typeface="Calibri"/>
              </a:rPr>
              <a:pPr/>
              <a:t>12/14/18</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4E8B6649-2204-044B-9584-1C0AE172D1FF}"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6798131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Diseño personalizado">
    <p:spTree>
      <p:nvGrpSpPr>
        <p:cNvPr id="1" name=""/>
        <p:cNvGrpSpPr/>
        <p:nvPr/>
      </p:nvGrpSpPr>
      <p:grpSpPr>
        <a:xfrm>
          <a:off x="0" y="0"/>
          <a:ext cx="0" cy="0"/>
          <a:chOff x="0" y="0"/>
          <a:chExt cx="0" cy="0"/>
        </a:xfrm>
      </p:grpSpPr>
      <p:sp>
        <p:nvSpPr>
          <p:cNvPr id="6" name="Rectángulo 5"/>
          <p:cNvSpPr/>
          <p:nvPr userDrawn="1"/>
        </p:nvSpPr>
        <p:spPr>
          <a:xfrm>
            <a:off x="0" y="936342"/>
            <a:ext cx="12192000" cy="5562420"/>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00"/>
          </a:p>
        </p:txBody>
      </p:sp>
      <p:sp>
        <p:nvSpPr>
          <p:cNvPr id="7" name="Título 1"/>
          <p:cNvSpPr>
            <a:spLocks noGrp="1"/>
          </p:cNvSpPr>
          <p:nvPr>
            <p:ph type="ctrTitle" hasCustomPrompt="1"/>
          </p:nvPr>
        </p:nvSpPr>
        <p:spPr>
          <a:xfrm>
            <a:off x="1186320" y="90870"/>
            <a:ext cx="10363200" cy="799117"/>
          </a:xfrm>
        </p:spPr>
        <p:txBody>
          <a:bodyPr>
            <a:normAutofit/>
          </a:bodyPr>
          <a:lstStyle>
            <a:lvl1pPr algn="l">
              <a:lnSpc>
                <a:spcPct val="100000"/>
              </a:lnSpc>
              <a:defRPr sz="2500" b="1" i="0">
                <a:solidFill>
                  <a:schemeClr val="tx1">
                    <a:lumMod val="75000"/>
                    <a:lumOff val="25000"/>
                  </a:schemeClr>
                </a:solidFill>
                <a:latin typeface="+mn-lt"/>
                <a:cs typeface="Oswald Bold"/>
              </a:defRPr>
            </a:lvl1pPr>
          </a:lstStyle>
          <a:p>
            <a:r>
              <a:rPr lang="es-ES_tradnl" dirty="0"/>
              <a:t>CLIC PARA EDITAR TÍTULO</a:t>
            </a:r>
            <a:endParaRPr lang="es-ES" dirty="0"/>
          </a:p>
        </p:txBody>
      </p:sp>
      <p:sp>
        <p:nvSpPr>
          <p:cNvPr id="9" name="Rectángulo 8"/>
          <p:cNvSpPr/>
          <p:nvPr userDrawn="1"/>
        </p:nvSpPr>
        <p:spPr>
          <a:xfrm>
            <a:off x="0" y="6489490"/>
            <a:ext cx="12192000" cy="368510"/>
          </a:xfrm>
          <a:prstGeom prst="rect">
            <a:avLst/>
          </a:prstGeom>
          <a:solidFill>
            <a:srgbClr val="EA5D0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00">
              <a:latin typeface="+mj-lt"/>
            </a:endParaRPr>
          </a:p>
        </p:txBody>
      </p:sp>
      <p:sp>
        <p:nvSpPr>
          <p:cNvPr id="12" name="CuadroTexto 11"/>
          <p:cNvSpPr txBox="1"/>
          <p:nvPr userDrawn="1"/>
        </p:nvSpPr>
        <p:spPr>
          <a:xfrm>
            <a:off x="6711703" y="936341"/>
            <a:ext cx="184731" cy="369332"/>
          </a:xfrm>
          <a:prstGeom prst="rect">
            <a:avLst/>
          </a:prstGeom>
          <a:noFill/>
        </p:spPr>
        <p:txBody>
          <a:bodyPr wrap="none" rtlCol="0">
            <a:spAutoFit/>
          </a:bodyPr>
          <a:lstStyle/>
          <a:p>
            <a:endParaRPr lang="es-ES" sz="1800"/>
          </a:p>
        </p:txBody>
      </p:sp>
      <p:sp>
        <p:nvSpPr>
          <p:cNvPr id="13" name="Marcador de número de diapositiva 5"/>
          <p:cNvSpPr txBox="1">
            <a:spLocks/>
          </p:cNvSpPr>
          <p:nvPr userDrawn="1"/>
        </p:nvSpPr>
        <p:spPr>
          <a:xfrm>
            <a:off x="9706480" y="6476487"/>
            <a:ext cx="2324449" cy="345053"/>
          </a:xfrm>
          <a:prstGeom prst="rect">
            <a:avLst/>
          </a:prstGeom>
        </p:spPr>
        <p:txBody>
          <a:bodyPr vert="horz" lIns="91440" tIns="45720" rIns="91440" bIns="45720" rtlCol="0" anchor="ctr"/>
          <a:lstStyle>
            <a:defPPr>
              <a:defRPr lang="es-ES"/>
            </a:defPPr>
            <a:lvl1pPr marL="0" algn="r" defTabSz="457200" rtl="0" eaLnBrk="1" latinLnBrk="0" hangingPunct="1">
              <a:defRPr sz="1500" b="1" i="0" kern="1200">
                <a:solidFill>
                  <a:schemeClr val="bg1"/>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DF21B4A-72A8-B348-9A69-BF950F00FC08}" type="slidenum">
              <a:rPr lang="es-ES" sz="1500" smtClean="0">
                <a:solidFill>
                  <a:schemeClr val="bg1"/>
                </a:solidFill>
                <a:latin typeface="+mj-lt"/>
              </a:rPr>
              <a:pPr/>
              <a:t>‹#›</a:t>
            </a:fld>
            <a:endParaRPr lang="es-ES" sz="1500">
              <a:solidFill>
                <a:schemeClr val="bg1"/>
              </a:solidFill>
              <a:latin typeface="+mj-lt"/>
            </a:endParaRPr>
          </a:p>
        </p:txBody>
      </p:sp>
      <p:sp>
        <p:nvSpPr>
          <p:cNvPr id="8" name="Subtítulo 2"/>
          <p:cNvSpPr>
            <a:spLocks noGrp="1"/>
          </p:cNvSpPr>
          <p:nvPr>
            <p:ph type="subTitle" idx="1"/>
          </p:nvPr>
        </p:nvSpPr>
        <p:spPr>
          <a:xfrm>
            <a:off x="803160" y="1526628"/>
            <a:ext cx="10363201" cy="3884423"/>
          </a:xfrm>
        </p:spPr>
        <p:txBody>
          <a:bodyPr>
            <a:normAutofit/>
          </a:bodyPr>
          <a:lstStyle>
            <a:lvl1pPr marL="285750" indent="-285750" algn="l">
              <a:lnSpc>
                <a:spcPct val="120000"/>
              </a:lnSpc>
              <a:buSzPct val="100000"/>
              <a:buFontTx/>
              <a:buBlip>
                <a:blip r:embed="rId2"/>
              </a:buBlip>
              <a:defRPr sz="1800" b="0" i="0" baseline="0">
                <a:solidFill>
                  <a:schemeClr val="tx1">
                    <a:lumMod val="75000"/>
                    <a:lumOff val="25000"/>
                  </a:schemeClr>
                </a:solidFill>
                <a:latin typeface="+mn-lt"/>
                <a:cs typeface="Roboto Regular"/>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a:t>Haga clic para modificar el estilo de subtítulo del patrón</a:t>
            </a:r>
            <a:endParaRPr lang="es-ES" dirty="0"/>
          </a:p>
        </p:txBody>
      </p:sp>
      <p:sp>
        <p:nvSpPr>
          <p:cNvPr id="10" name="CuadroTexto 9"/>
          <p:cNvSpPr txBox="1"/>
          <p:nvPr userDrawn="1"/>
        </p:nvSpPr>
        <p:spPr>
          <a:xfrm>
            <a:off x="110432" y="6498762"/>
            <a:ext cx="1780169" cy="323165"/>
          </a:xfrm>
          <a:prstGeom prst="rect">
            <a:avLst/>
          </a:prstGeom>
          <a:noFill/>
        </p:spPr>
        <p:txBody>
          <a:bodyPr wrap="square" rtlCol="0">
            <a:sp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s-ES" sz="1500" b="1" i="0" dirty="0">
                <a:solidFill>
                  <a:schemeClr val="bg1"/>
                </a:solidFill>
                <a:latin typeface="+mj-lt"/>
                <a:cs typeface="Open Sans"/>
              </a:rPr>
              <a:t>MedOPP213</a:t>
            </a:r>
          </a:p>
        </p:txBody>
      </p:sp>
      <p:sp>
        <p:nvSpPr>
          <p:cNvPr id="11" name="CuadroTexto 10"/>
          <p:cNvSpPr txBox="1"/>
          <p:nvPr userDrawn="1"/>
        </p:nvSpPr>
        <p:spPr>
          <a:xfrm>
            <a:off x="3484429" y="6504772"/>
            <a:ext cx="5849361" cy="323165"/>
          </a:xfrm>
          <a:prstGeom prst="rect">
            <a:avLst/>
          </a:prstGeom>
          <a:noFill/>
        </p:spPr>
        <p:txBody>
          <a:bodyPr wrap="square" rtlCol="0">
            <a:spAutoFit/>
          </a:bodyPr>
          <a:lstStyle/>
          <a:p>
            <a:r>
              <a:rPr lang="es-ES" sz="1500" b="1" i="0">
                <a:solidFill>
                  <a:schemeClr val="bg1"/>
                </a:solidFill>
                <a:latin typeface="+mj-lt"/>
                <a:cs typeface="Open Sans"/>
              </a:rPr>
              <a:t>MedSIR - CONFIDENTIAL INFORMATION </a:t>
            </a:r>
          </a:p>
        </p:txBody>
      </p:sp>
    </p:spTree>
    <p:extLst>
      <p:ext uri="{BB962C8B-B14F-4D97-AF65-F5344CB8AC3E}">
        <p14:creationId xmlns:p14="http://schemas.microsoft.com/office/powerpoint/2010/main" val="24545650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852EAAE8-CCF3-4F96-9EDD-F18979507D10}"/>
              </a:ext>
            </a:extLst>
          </p:cNvPr>
          <p:cNvGraphicFramePr>
            <a:graphicFrameLocks noChangeAspect="1"/>
          </p:cNvGraphicFramePr>
          <p:nvPr userDrawn="1">
            <p:custDataLst>
              <p:tags r:id="rId13"/>
            </p:custDataLst>
            <p:extLst>
              <p:ext uri="{D42A27DB-BD31-4B8C-83A1-F6EECF244321}">
                <p14:modId xmlns:p14="http://schemas.microsoft.com/office/powerpoint/2010/main" val="12349961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6" name="think-cell Slide" r:id="rId14" imgW="347" imgH="348" progId="TCLayout.ActiveDocument.1">
                  <p:embed/>
                </p:oleObj>
              </mc:Choice>
              <mc:Fallback>
                <p:oleObj name="think-cell Slide" r:id="rId14" imgW="347" imgH="348"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23849" y="365125"/>
            <a:ext cx="11544300" cy="415498"/>
          </a:xfrm>
          <a:prstGeom prst="rect">
            <a:avLst/>
          </a:prstGeom>
        </p:spPr>
        <p:txBody>
          <a:bodyPr vert="horz" wrap="square" lIns="0" tIns="0" rIns="0" bIns="0" rtlCol="0" anchor="t" anchorCtr="0">
            <a:spAutoFit/>
          </a:bodyPr>
          <a:lstStyle/>
          <a:p>
            <a:pPr lvl="0"/>
            <a:r>
              <a:rPr lang="en-US" dirty="0"/>
              <a:t>Click to edit master title style</a:t>
            </a:r>
            <a:endParaRPr lang="id-ID" dirty="0"/>
          </a:p>
        </p:txBody>
      </p:sp>
      <p:sp>
        <p:nvSpPr>
          <p:cNvPr id="3" name="Text Placeholder 2"/>
          <p:cNvSpPr>
            <a:spLocks noGrp="1"/>
          </p:cNvSpPr>
          <p:nvPr>
            <p:ph type="body" idx="1"/>
          </p:nvPr>
        </p:nvSpPr>
        <p:spPr>
          <a:xfrm>
            <a:off x="323850" y="983904"/>
            <a:ext cx="11544299" cy="737638"/>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p:txBody>
      </p:sp>
      <p:sp>
        <p:nvSpPr>
          <p:cNvPr id="8" name="Footer Placeholder 4">
            <a:extLst>
              <a:ext uri="{FF2B5EF4-FFF2-40B4-BE49-F238E27FC236}">
                <a16:creationId xmlns:a16="http://schemas.microsoft.com/office/drawing/2014/main" id="{94569AB8-ED63-4791-8CFC-FBCFC48E8430}"/>
              </a:ext>
            </a:extLst>
          </p:cNvPr>
          <p:cNvSpPr txBox="1">
            <a:spLocks/>
          </p:cNvSpPr>
          <p:nvPr userDrawn="1"/>
        </p:nvSpPr>
        <p:spPr>
          <a:xfrm>
            <a:off x="4038600" y="7156450"/>
            <a:ext cx="4114800"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4" name="Footer Placeholder 3">
            <a:extLst>
              <a:ext uri="{FF2B5EF4-FFF2-40B4-BE49-F238E27FC236}">
                <a16:creationId xmlns:a16="http://schemas.microsoft.com/office/drawing/2014/main" id="{D56AE014-C813-4516-9BA0-8AA6B2794F6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SOURCE:</a:t>
            </a:r>
          </a:p>
        </p:txBody>
      </p:sp>
      <p:sp>
        <p:nvSpPr>
          <p:cNvPr id="5" name="Date Placeholder 4">
            <a:extLst>
              <a:ext uri="{FF2B5EF4-FFF2-40B4-BE49-F238E27FC236}">
                <a16:creationId xmlns:a16="http://schemas.microsoft.com/office/drawing/2014/main" id="{F37D2FC7-7B60-40B4-8D60-9E76180350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a:t>Footnote</a:t>
            </a:r>
          </a:p>
        </p:txBody>
      </p:sp>
    </p:spTree>
    <p:extLst>
      <p:ext uri="{BB962C8B-B14F-4D97-AF65-F5344CB8AC3E}">
        <p14:creationId xmlns:p14="http://schemas.microsoft.com/office/powerpoint/2010/main" val="3261803009"/>
      </p:ext>
    </p:extLst>
  </p:cSld>
  <p:clrMap bg1="lt1" tx1="dk1" bg2="lt2" tx2="dk2" accent1="accent1" accent2="accent2" accent3="accent3" accent4="accent4" accent5="accent5" accent6="accent6" hlink="hlink" folHlink="folHlink"/>
  <p:sldLayoutIdLst>
    <p:sldLayoutId id="2147483672" r:id="rId1"/>
    <p:sldLayoutId id="2147483676" r:id="rId2"/>
    <p:sldLayoutId id="2147483677" r:id="rId3"/>
    <p:sldLayoutId id="2147483679" r:id="rId4"/>
    <p:sldLayoutId id="2147483678" r:id="rId5"/>
    <p:sldLayoutId id="2147483670" r:id="rId6"/>
    <p:sldLayoutId id="2147483680" r:id="rId7"/>
    <p:sldLayoutId id="2147483685" r:id="rId8"/>
    <p:sldLayoutId id="2147483686" r:id="rId9"/>
    <p:sldLayoutId id="2147483687" r:id="rId10"/>
  </p:sldLayoutIdLst>
  <p:hf sldNum="0" hdr="0"/>
  <p:txStyles>
    <p:titleStyle>
      <a:lvl1pPr algn="l" defTabSz="914400" rtl="0" eaLnBrk="1" latinLnBrk="0" hangingPunct="1">
        <a:lnSpc>
          <a:spcPct val="90000"/>
        </a:lnSpc>
        <a:spcBef>
          <a:spcPct val="0"/>
        </a:spcBef>
        <a:buNone/>
        <a:defRPr lang="id-ID" sz="3000" b="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tx1"/>
        </a:buClr>
        <a:buFont typeface="Arial" panose="020B0604020202020204" pitchFamily="34" charset="0"/>
        <a:buChar char="•"/>
        <a:defRPr sz="1400" kern="1200">
          <a:solidFill>
            <a:schemeClr val="bg2"/>
          </a:solidFill>
          <a:latin typeface="+mn-lt"/>
          <a:ea typeface="+mn-ea"/>
          <a:cs typeface="+mn-cs"/>
        </a:defRPr>
      </a:lvl1pPr>
      <a:lvl2pPr marL="561975" indent="-333375" algn="l" defTabSz="914400" rtl="0" eaLnBrk="1" latinLnBrk="0" hangingPunct="1">
        <a:lnSpc>
          <a:spcPct val="90000"/>
        </a:lnSpc>
        <a:spcBef>
          <a:spcPts val="500"/>
        </a:spcBef>
        <a:buClr>
          <a:schemeClr val="tx1"/>
        </a:buClr>
        <a:buFont typeface="Segoe UI Light" panose="020B0502040204020203" pitchFamily="34" charset="0"/>
        <a:buChar char="−"/>
        <a:defRPr sz="1400" kern="1200">
          <a:solidFill>
            <a:schemeClr val="bg2"/>
          </a:solidFill>
          <a:latin typeface="+mn-lt"/>
          <a:ea typeface="+mn-ea"/>
          <a:cs typeface="+mn-cs"/>
        </a:defRPr>
      </a:lvl2pPr>
      <a:lvl3pPr marL="887413" indent="-307975" algn="l" defTabSz="914400" rtl="0" eaLnBrk="1" latinLnBrk="0" hangingPunct="1">
        <a:lnSpc>
          <a:spcPct val="90000"/>
        </a:lnSpc>
        <a:spcBef>
          <a:spcPts val="500"/>
        </a:spcBef>
        <a:buClr>
          <a:schemeClr val="tx1"/>
        </a:buClr>
        <a:buSzPct val="75000"/>
        <a:buFont typeface="Courier New" panose="02070309020205020404" pitchFamily="49" charset="0"/>
        <a:buChar char="o"/>
        <a:tabLst>
          <a:tab pos="841375" algn="l"/>
        </a:tabLst>
        <a:defRPr sz="1400" kern="1200">
          <a:solidFill>
            <a:schemeClr val="bg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2.xml"/><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4.xml"/><Relationship Id="rId4"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0.jpeg"/><Relationship Id="rId7"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3.png"/><Relationship Id="rId9"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17.tiff"/><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8" Type="http://schemas.openxmlformats.org/officeDocument/2006/relationships/image" Target="../media/image23.tiff"/><Relationship Id="rId13" Type="http://schemas.openxmlformats.org/officeDocument/2006/relationships/image" Target="../media/image28.tiff"/><Relationship Id="rId3" Type="http://schemas.openxmlformats.org/officeDocument/2006/relationships/image" Target="../media/image18.tiff"/><Relationship Id="rId7" Type="http://schemas.openxmlformats.org/officeDocument/2006/relationships/image" Target="../media/image22.tiff"/><Relationship Id="rId12" Type="http://schemas.openxmlformats.org/officeDocument/2006/relationships/image" Target="../media/image27.tiff"/><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image" Target="../media/image21.tiff"/><Relationship Id="rId11" Type="http://schemas.openxmlformats.org/officeDocument/2006/relationships/image" Target="../media/image26.tiff"/><Relationship Id="rId5" Type="http://schemas.openxmlformats.org/officeDocument/2006/relationships/image" Target="../media/image20.tiff"/><Relationship Id="rId15" Type="http://schemas.openxmlformats.org/officeDocument/2006/relationships/image" Target="NULL"/><Relationship Id="rId10" Type="http://schemas.openxmlformats.org/officeDocument/2006/relationships/image" Target="../media/image25.tiff"/><Relationship Id="rId4" Type="http://schemas.openxmlformats.org/officeDocument/2006/relationships/image" Target="../media/image19.tiff"/><Relationship Id="rId9" Type="http://schemas.openxmlformats.org/officeDocument/2006/relationships/image" Target="../media/image24.tiff"/><Relationship Id="rId14" Type="http://schemas.openxmlformats.org/officeDocument/2006/relationships/image" Target="../media/image29.emf"/></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3.png"/><Relationship Id="rId4" Type="http://schemas.microsoft.com/office/2007/relationships/hdphoto" Target="../media/hdphoto4.wdp"/></Relationships>
</file>

<file path=ppt/slides/_rels/slide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0.jpeg"/><Relationship Id="rId7"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3.png"/><Relationship Id="rId9"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DF18D07F-02A7-4A9A-98B4-5E9F5AD0E2C3}"/>
              </a:ext>
            </a:extLst>
          </p:cNvPr>
          <p:cNvSpPr>
            <a:spLocks noGrp="1"/>
          </p:cNvSpPr>
          <p:nvPr>
            <p:ph type="body" sz="quarter" idx="11"/>
          </p:nvPr>
        </p:nvSpPr>
        <p:spPr>
          <a:xfrm>
            <a:off x="1340223" y="4092461"/>
            <a:ext cx="2958359" cy="193899"/>
          </a:xfrm>
        </p:spPr>
        <p:txBody>
          <a:bodyPr/>
          <a:lstStyle/>
          <a:p>
            <a:r>
              <a:rPr lang="en-US" sz="1400" dirty="0"/>
              <a:t>2012</a:t>
            </a:r>
          </a:p>
        </p:txBody>
      </p:sp>
      <p:sp>
        <p:nvSpPr>
          <p:cNvPr id="4" name="Text Placeholder 3">
            <a:extLst>
              <a:ext uri="{FF2B5EF4-FFF2-40B4-BE49-F238E27FC236}">
                <a16:creationId xmlns:a16="http://schemas.microsoft.com/office/drawing/2014/main" id="{0C818FAC-28D9-4D79-8E6D-9E0A99AFA00D}"/>
              </a:ext>
            </a:extLst>
          </p:cNvPr>
          <p:cNvSpPr>
            <a:spLocks noGrp="1"/>
          </p:cNvSpPr>
          <p:nvPr>
            <p:ph type="body" sz="quarter" idx="10"/>
          </p:nvPr>
        </p:nvSpPr>
        <p:spPr>
          <a:xfrm>
            <a:off x="1148755" y="3059669"/>
            <a:ext cx="3341296" cy="738664"/>
          </a:xfrm>
        </p:spPr>
        <p:txBody>
          <a:bodyPr>
            <a:spAutoFit/>
          </a:bodyPr>
          <a:lstStyle/>
          <a:p>
            <a:r>
              <a:rPr lang="en-US" dirty="0"/>
              <a:t> </a:t>
            </a:r>
            <a:r>
              <a:rPr lang="en-US" dirty="0" err="1"/>
              <a:t>MedSIR</a:t>
            </a:r>
            <a:endParaRPr lang="en-US" dirty="0"/>
          </a:p>
        </p:txBody>
      </p:sp>
      <p:sp>
        <p:nvSpPr>
          <p:cNvPr id="2" name="Rectangle 1">
            <a:extLst>
              <a:ext uri="{FF2B5EF4-FFF2-40B4-BE49-F238E27FC236}">
                <a16:creationId xmlns:a16="http://schemas.microsoft.com/office/drawing/2014/main" id="{009D6B93-0179-C14B-80B4-EE511EA9F4A5}"/>
              </a:ext>
            </a:extLst>
          </p:cNvPr>
          <p:cNvSpPr/>
          <p:nvPr/>
        </p:nvSpPr>
        <p:spPr>
          <a:xfrm>
            <a:off x="5740400" y="2769970"/>
            <a:ext cx="6096000" cy="2677656"/>
          </a:xfrm>
          <a:prstGeom prst="rect">
            <a:avLst/>
          </a:prstGeom>
          <a:solidFill>
            <a:schemeClr val="bg1"/>
          </a:solidFill>
        </p:spPr>
        <p:txBody>
          <a:bodyPr>
            <a:spAutoFit/>
          </a:bodyPr>
          <a:lstStyle/>
          <a:p>
            <a:pPr algn="ctr"/>
            <a:r>
              <a:rPr lang="es-ES" sz="2800" dirty="0"/>
              <a:t>Desarrollando un ensayo clínico – desde la idea hasta los resultados. </a:t>
            </a:r>
          </a:p>
          <a:p>
            <a:pPr algn="ctr"/>
            <a:endParaRPr lang="es-ES" sz="2800" dirty="0"/>
          </a:p>
          <a:p>
            <a:pPr algn="ctr"/>
            <a:r>
              <a:rPr lang="es-ES" sz="2800" dirty="0"/>
              <a:t>Sr. François Riva, </a:t>
            </a:r>
            <a:r>
              <a:rPr lang="es-ES" sz="2800" dirty="0" err="1"/>
              <a:t>MedSIR</a:t>
            </a:r>
            <a:endParaRPr lang="es-ES" sz="2800" dirty="0"/>
          </a:p>
          <a:p>
            <a:pPr algn="ctr"/>
            <a:endParaRPr lang="es-ES" sz="2800" dirty="0"/>
          </a:p>
          <a:p>
            <a:pPr algn="ctr"/>
            <a:r>
              <a:rPr lang="es-ES" sz="2800" dirty="0" err="1"/>
              <a:t>November</a:t>
            </a:r>
            <a:r>
              <a:rPr lang="es-ES" sz="2800" dirty="0"/>
              <a:t> 23, 2018</a:t>
            </a:r>
          </a:p>
        </p:txBody>
      </p:sp>
    </p:spTree>
    <p:extLst>
      <p:ext uri="{BB962C8B-B14F-4D97-AF65-F5344CB8AC3E}">
        <p14:creationId xmlns:p14="http://schemas.microsoft.com/office/powerpoint/2010/main" val="24311242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2B3D925-BF85-4F0C-9475-B2E93A56A87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33" name="think-cell Slide" r:id="rId6" imgW="347" imgH="348" progId="TCLayout.ActiveDocument.1">
                  <p:embed/>
                </p:oleObj>
              </mc:Choice>
              <mc:Fallback>
                <p:oleObj name="think-cell Slide" r:id="rId6" imgW="347" imgH="348" progId="TCLayout.ActiveDocument.1">
                  <p:embed/>
                  <p:pic>
                    <p:nvPicPr>
                      <p:cNvPr id="4" name="Object 3" hidden="1">
                        <a:extLst>
                          <a:ext uri="{FF2B5EF4-FFF2-40B4-BE49-F238E27FC236}">
                            <a16:creationId xmlns:a16="http://schemas.microsoft.com/office/drawing/2014/main" id="{B2B3D925-BF85-4F0C-9475-B2E93A56A87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60F245C-24BF-4364-80A3-06BDBBFBB9A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dirty="0">
              <a:latin typeface="Ubuntu" panose="020B0504030602030204" pitchFamily="34" charset="0"/>
              <a:ea typeface="+mj-ea"/>
              <a:cs typeface="+mj-cs"/>
              <a:sym typeface="Ubuntu" panose="020B0504030602030204" pitchFamily="34" charset="0"/>
            </a:endParaRPr>
          </a:p>
        </p:txBody>
      </p:sp>
      <p:sp>
        <p:nvSpPr>
          <p:cNvPr id="2" name="Title 1">
            <a:extLst>
              <a:ext uri="{FF2B5EF4-FFF2-40B4-BE49-F238E27FC236}">
                <a16:creationId xmlns:a16="http://schemas.microsoft.com/office/drawing/2014/main" id="{638FA074-5239-4B09-8741-4F95768D707F}"/>
              </a:ext>
            </a:extLst>
          </p:cNvPr>
          <p:cNvSpPr>
            <a:spLocks noGrp="1"/>
          </p:cNvSpPr>
          <p:nvPr>
            <p:ph type="title"/>
          </p:nvPr>
        </p:nvSpPr>
        <p:spPr>
          <a:xfrm>
            <a:off x="274297" y="513271"/>
            <a:ext cx="10571754" cy="430887"/>
          </a:xfrm>
        </p:spPr>
        <p:txBody>
          <a:bodyPr/>
          <a:lstStyle/>
          <a:p>
            <a:r>
              <a:rPr lang="en-US" dirty="0" err="1"/>
              <a:t>Objetivos</a:t>
            </a:r>
            <a:r>
              <a:rPr lang="en-US" dirty="0"/>
              <a:t> de la </a:t>
            </a:r>
            <a:r>
              <a:rPr lang="en-US" dirty="0" err="1"/>
              <a:t>ponencia</a:t>
            </a:r>
            <a:endParaRPr lang="en-US" dirty="0"/>
          </a:p>
        </p:txBody>
      </p:sp>
      <p:sp>
        <p:nvSpPr>
          <p:cNvPr id="5" name="TextBox 4">
            <a:extLst>
              <a:ext uri="{FF2B5EF4-FFF2-40B4-BE49-F238E27FC236}">
                <a16:creationId xmlns:a16="http://schemas.microsoft.com/office/drawing/2014/main" id="{1B450317-4B78-F441-8B9F-2DD0A94CF029}"/>
              </a:ext>
            </a:extLst>
          </p:cNvPr>
          <p:cNvSpPr txBox="1"/>
          <p:nvPr/>
        </p:nvSpPr>
        <p:spPr>
          <a:xfrm>
            <a:off x="274296" y="2234910"/>
            <a:ext cx="11534076" cy="615553"/>
          </a:xfrm>
          <a:prstGeom prst="rect">
            <a:avLst/>
          </a:prstGeom>
          <a:noFill/>
        </p:spPr>
        <p:txBody>
          <a:bodyPr wrap="square" lIns="0" tIns="0" rIns="0" bIns="0" rtlCol="0">
            <a:spAutoFit/>
          </a:bodyPr>
          <a:lstStyle/>
          <a:p>
            <a:pPr marL="922338" lvl="2" indent="-342900">
              <a:buFont typeface="Arial" panose="020B0604020202020204" pitchFamily="34" charset="0"/>
              <a:buChar char="•"/>
            </a:pPr>
            <a:r>
              <a:rPr lang="es-ES" sz="2000" b="1" i="1" dirty="0"/>
              <a:t>Complejidad</a:t>
            </a:r>
            <a:r>
              <a:rPr lang="es-ES" sz="2000" dirty="0"/>
              <a:t>: En un ensayo clínico interviene </a:t>
            </a:r>
            <a:r>
              <a:rPr lang="es-ES" sz="2000" b="1" u="sng" dirty="0"/>
              <a:t>mucha gente</a:t>
            </a:r>
            <a:r>
              <a:rPr lang="es-ES" sz="2000" b="1" dirty="0"/>
              <a:t> </a:t>
            </a:r>
            <a:r>
              <a:rPr lang="es-ES" sz="2000" dirty="0"/>
              <a:t>que se implica desde el diseño hasta el final del ensayo clínico…</a:t>
            </a:r>
          </a:p>
        </p:txBody>
      </p:sp>
      <p:sp>
        <p:nvSpPr>
          <p:cNvPr id="6" name="TextBox 5">
            <a:extLst>
              <a:ext uri="{FF2B5EF4-FFF2-40B4-BE49-F238E27FC236}">
                <a16:creationId xmlns:a16="http://schemas.microsoft.com/office/drawing/2014/main" id="{561ECC0B-9E25-584D-A0AB-3EBA1B475A90}"/>
              </a:ext>
            </a:extLst>
          </p:cNvPr>
          <p:cNvSpPr txBox="1"/>
          <p:nvPr/>
        </p:nvSpPr>
        <p:spPr>
          <a:xfrm>
            <a:off x="274296" y="1355832"/>
            <a:ext cx="3399069" cy="369332"/>
          </a:xfrm>
          <a:prstGeom prst="rect">
            <a:avLst/>
          </a:prstGeom>
          <a:noFill/>
        </p:spPr>
        <p:txBody>
          <a:bodyPr wrap="square" rtlCol="0">
            <a:spAutoFit/>
          </a:bodyPr>
          <a:lstStyle/>
          <a:p>
            <a:r>
              <a:rPr lang="es-ES" dirty="0"/>
              <a:t>Que el público entienda…</a:t>
            </a:r>
          </a:p>
        </p:txBody>
      </p:sp>
      <p:sp>
        <p:nvSpPr>
          <p:cNvPr id="7" name="TextBox 6">
            <a:extLst>
              <a:ext uri="{FF2B5EF4-FFF2-40B4-BE49-F238E27FC236}">
                <a16:creationId xmlns:a16="http://schemas.microsoft.com/office/drawing/2014/main" id="{041CEA00-F8A6-FC4D-A85F-EE5B0192E759}"/>
              </a:ext>
            </a:extLst>
          </p:cNvPr>
          <p:cNvSpPr txBox="1"/>
          <p:nvPr/>
        </p:nvSpPr>
        <p:spPr>
          <a:xfrm>
            <a:off x="274296" y="3658380"/>
            <a:ext cx="11534076" cy="615553"/>
          </a:xfrm>
          <a:prstGeom prst="rect">
            <a:avLst/>
          </a:prstGeom>
          <a:noFill/>
        </p:spPr>
        <p:txBody>
          <a:bodyPr wrap="square" lIns="0" tIns="0" rIns="0" bIns="0" rtlCol="0">
            <a:spAutoFit/>
          </a:bodyPr>
          <a:lstStyle/>
          <a:p>
            <a:pPr marL="922338" lvl="2" indent="-342900">
              <a:buFont typeface="Arial" panose="020B0604020202020204" pitchFamily="34" charset="0"/>
              <a:buChar char="•"/>
            </a:pPr>
            <a:r>
              <a:rPr lang="es-ES" sz="2000" b="1" i="1" dirty="0"/>
              <a:t>Seriedad y Rigor Intelectual</a:t>
            </a:r>
            <a:r>
              <a:rPr lang="es-ES" sz="2000" dirty="0"/>
              <a:t>: hay </a:t>
            </a:r>
            <a:r>
              <a:rPr lang="es-ES" sz="2000" b="1" u="sng" dirty="0"/>
              <a:t>mucho trabajo previo </a:t>
            </a:r>
            <a:r>
              <a:rPr lang="es-ES" sz="2000" dirty="0"/>
              <a:t>al ensayo para maximizar las posibilidades de que el estudio sea provechoso – “</a:t>
            </a:r>
            <a:r>
              <a:rPr lang="es-ES" sz="2000" dirty="0" err="1"/>
              <a:t>get</a:t>
            </a:r>
            <a:r>
              <a:rPr lang="es-ES" sz="2000" dirty="0"/>
              <a:t> </a:t>
            </a:r>
            <a:r>
              <a:rPr lang="es-ES" sz="2000" dirty="0" err="1"/>
              <a:t>the</a:t>
            </a:r>
            <a:r>
              <a:rPr lang="es-ES" sz="2000" dirty="0"/>
              <a:t> </a:t>
            </a:r>
            <a:r>
              <a:rPr lang="es-ES" sz="2000" dirty="0" err="1"/>
              <a:t>most</a:t>
            </a:r>
            <a:r>
              <a:rPr lang="es-ES" sz="2000" dirty="0"/>
              <a:t> </a:t>
            </a:r>
            <a:r>
              <a:rPr lang="es-ES" sz="2000" dirty="0" err="1"/>
              <a:t>out</a:t>
            </a:r>
            <a:r>
              <a:rPr lang="es-ES" sz="2000" dirty="0"/>
              <a:t> of </a:t>
            </a:r>
            <a:r>
              <a:rPr lang="es-ES" sz="2000" dirty="0" err="1"/>
              <a:t>it</a:t>
            </a:r>
            <a:r>
              <a:rPr lang="es-ES" sz="2000" dirty="0"/>
              <a:t>” …</a:t>
            </a:r>
          </a:p>
        </p:txBody>
      </p:sp>
      <p:sp>
        <p:nvSpPr>
          <p:cNvPr id="8" name="TextBox 7">
            <a:extLst>
              <a:ext uri="{FF2B5EF4-FFF2-40B4-BE49-F238E27FC236}">
                <a16:creationId xmlns:a16="http://schemas.microsoft.com/office/drawing/2014/main" id="{7E355A5D-84CA-0040-B506-5135265F78F2}"/>
              </a:ext>
            </a:extLst>
          </p:cNvPr>
          <p:cNvSpPr txBox="1"/>
          <p:nvPr/>
        </p:nvSpPr>
        <p:spPr>
          <a:xfrm>
            <a:off x="274296" y="5487544"/>
            <a:ext cx="11534076" cy="307777"/>
          </a:xfrm>
          <a:prstGeom prst="rect">
            <a:avLst/>
          </a:prstGeom>
          <a:noFill/>
        </p:spPr>
        <p:txBody>
          <a:bodyPr wrap="square" lIns="0" tIns="0" rIns="0" bIns="0" rtlCol="0">
            <a:spAutoFit/>
          </a:bodyPr>
          <a:lstStyle/>
          <a:p>
            <a:pPr marL="922338" lvl="2" indent="-342900">
              <a:buFont typeface="Arial" panose="020B0604020202020204" pitchFamily="34" charset="0"/>
              <a:buChar char="•"/>
            </a:pPr>
            <a:r>
              <a:rPr lang="es-ES" sz="2000" b="1" i="1" dirty="0"/>
              <a:t>Seguridad</a:t>
            </a:r>
            <a:r>
              <a:rPr lang="es-ES" sz="2000" dirty="0"/>
              <a:t>: Muchas normas/tramites, pero están para </a:t>
            </a:r>
            <a:r>
              <a:rPr lang="es-ES" sz="2000" b="1" u="sng" dirty="0"/>
              <a:t>proteger al paciente</a:t>
            </a:r>
            <a:r>
              <a:rPr lang="es-ES" sz="2000" dirty="0"/>
              <a:t>.</a:t>
            </a:r>
          </a:p>
        </p:txBody>
      </p:sp>
    </p:spTree>
    <p:extLst>
      <p:ext uri="{BB962C8B-B14F-4D97-AF65-F5344CB8AC3E}">
        <p14:creationId xmlns:p14="http://schemas.microsoft.com/office/powerpoint/2010/main" val="17772522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28831C-9DB2-A44B-A988-0E41A20CB18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964943">
            <a:off x="296535" y="639876"/>
            <a:ext cx="7924800" cy="1349864"/>
          </a:xfrm>
          <a:prstGeom prst="rect">
            <a:avLst/>
          </a:prstGeom>
        </p:spPr>
      </p:pic>
      <p:pic>
        <p:nvPicPr>
          <p:cNvPr id="9" name="Picture 8">
            <a:extLst>
              <a:ext uri="{FF2B5EF4-FFF2-40B4-BE49-F238E27FC236}">
                <a16:creationId xmlns:a16="http://schemas.microsoft.com/office/drawing/2014/main" id="{29FD84F5-646C-8A42-BA1D-76DEBE43552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796908">
            <a:off x="3811178" y="2048691"/>
            <a:ext cx="8359624" cy="1157822"/>
          </a:xfrm>
          <a:prstGeom prst="rect">
            <a:avLst/>
          </a:prstGeom>
        </p:spPr>
      </p:pic>
      <p:pic>
        <p:nvPicPr>
          <p:cNvPr id="11" name="Picture 10">
            <a:extLst>
              <a:ext uri="{FF2B5EF4-FFF2-40B4-BE49-F238E27FC236}">
                <a16:creationId xmlns:a16="http://schemas.microsoft.com/office/drawing/2014/main" id="{4F7722F1-318A-AE4A-A17E-AADF88B11AA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43221">
            <a:off x="2392087" y="4795167"/>
            <a:ext cx="9213030" cy="1375635"/>
          </a:xfrm>
          <a:prstGeom prst="rect">
            <a:avLst/>
          </a:prstGeom>
        </p:spPr>
      </p:pic>
      <p:pic>
        <p:nvPicPr>
          <p:cNvPr id="13" name="Picture 12">
            <a:extLst>
              <a:ext uri="{FF2B5EF4-FFF2-40B4-BE49-F238E27FC236}">
                <a16:creationId xmlns:a16="http://schemas.microsoft.com/office/drawing/2014/main" id="{3700B50B-D622-384C-B488-CBAF9DAB453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20847169">
            <a:off x="24449" y="3586435"/>
            <a:ext cx="8228992" cy="1129732"/>
          </a:xfrm>
          <a:prstGeom prst="rect">
            <a:avLst/>
          </a:prstGeom>
        </p:spPr>
      </p:pic>
    </p:spTree>
    <p:extLst>
      <p:ext uri="{BB962C8B-B14F-4D97-AF65-F5344CB8AC3E}">
        <p14:creationId xmlns:p14="http://schemas.microsoft.com/office/powerpoint/2010/main" val="34362471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FF7049C-BB65-42B8-91AD-67F8EF3B29B4}"/>
              </a:ext>
            </a:extLst>
          </p:cNvPr>
          <p:cNvGraphicFramePr>
            <a:graphicFrameLocks noChangeAspect="1"/>
          </p:cNvGraphicFramePr>
          <p:nvPr>
            <p:custDataLst>
              <p:tags r:id="rId2"/>
            </p:custDataLs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70730" name="think-cell Slide" r:id="rId6" imgW="347" imgH="348" progId="TCLayout.ActiveDocument.1">
                  <p:embed/>
                </p:oleObj>
              </mc:Choice>
              <mc:Fallback>
                <p:oleObj name="think-cell Slide" r:id="rId6" imgW="347" imgH="348" progId="TCLayout.ActiveDocument.1">
                  <p:embed/>
                  <p:pic>
                    <p:nvPicPr>
                      <p:cNvPr id="6" name="Object 5" hidden="1">
                        <a:extLst>
                          <a:ext uri="{FF2B5EF4-FFF2-40B4-BE49-F238E27FC236}">
                            <a16:creationId xmlns:a16="http://schemas.microsoft.com/office/drawing/2014/main" id="{FFF7049C-BB65-42B8-91AD-67F8EF3B29B4}"/>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2241A66-4EE5-4F90-8B2E-DE78B2A894DE}"/>
              </a:ext>
            </a:extLst>
          </p:cNvPr>
          <p:cNvSpPr/>
          <p:nvPr>
            <p:custDataLst>
              <p:tags r:id="rId3"/>
            </p:custDataLst>
          </p:nvPr>
        </p:nvSpPr>
        <p:spPr>
          <a:xfrm>
            <a:off x="152400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400" dirty="0">
              <a:sym typeface="+mn-lt"/>
            </a:endParaRPr>
          </a:p>
        </p:txBody>
      </p:sp>
      <p:sp>
        <p:nvSpPr>
          <p:cNvPr id="7" name="Title 6">
            <a:extLst>
              <a:ext uri="{FF2B5EF4-FFF2-40B4-BE49-F238E27FC236}">
                <a16:creationId xmlns:a16="http://schemas.microsoft.com/office/drawing/2014/main" id="{565D834C-73C4-4978-8B2B-882C091479D6}"/>
              </a:ext>
            </a:extLst>
          </p:cNvPr>
          <p:cNvSpPr>
            <a:spLocks noGrp="1"/>
          </p:cNvSpPr>
          <p:nvPr>
            <p:ph type="title"/>
          </p:nvPr>
        </p:nvSpPr>
        <p:spPr>
          <a:xfrm>
            <a:off x="274297" y="513271"/>
            <a:ext cx="10571754" cy="430887"/>
          </a:xfrm>
        </p:spPr>
        <p:txBody>
          <a:bodyPr/>
          <a:lstStyle/>
          <a:p>
            <a:r>
              <a:rPr lang="en-US" dirty="0"/>
              <a:t>Challenging, High-risk Landscape</a:t>
            </a:r>
          </a:p>
        </p:txBody>
      </p:sp>
      <p:sp>
        <p:nvSpPr>
          <p:cNvPr id="14" name="Rectangle 13"/>
          <p:cNvSpPr/>
          <p:nvPr/>
        </p:nvSpPr>
        <p:spPr>
          <a:xfrm>
            <a:off x="4092279" y="371302"/>
            <a:ext cx="6218914" cy="523220"/>
          </a:xfrm>
          <a:prstGeom prst="rect">
            <a:avLst/>
          </a:prstGeom>
        </p:spPr>
        <p:txBody>
          <a:bodyPr wrap="square">
            <a:spAutoFit/>
          </a:bodyPr>
          <a:lstStyle/>
          <a:p>
            <a:endParaRPr lang="en-US" sz="2800" b="1" dirty="0">
              <a:solidFill>
                <a:srgbClr val="E34D20"/>
              </a:solidFill>
              <a:latin typeface="Helvetica Neue" charset="0"/>
              <a:ea typeface="Helvetica Neue" charset="0"/>
              <a:cs typeface="Helvetica Neue" charset="0"/>
            </a:endParaRPr>
          </a:p>
        </p:txBody>
      </p:sp>
      <p:sp>
        <p:nvSpPr>
          <p:cNvPr id="8" name="Text Box 4">
            <a:extLst>
              <a:ext uri="{FF2B5EF4-FFF2-40B4-BE49-F238E27FC236}">
                <a16:creationId xmlns:a16="http://schemas.microsoft.com/office/drawing/2014/main" id="{CE24F1A3-EA1B-5E48-AA89-BADE77278EE6}"/>
              </a:ext>
            </a:extLst>
          </p:cNvPr>
          <p:cNvSpPr txBox="1">
            <a:spLocks noChangeArrowheads="1"/>
          </p:cNvSpPr>
          <p:nvPr/>
        </p:nvSpPr>
        <p:spPr bwMode="auto">
          <a:xfrm>
            <a:off x="340691" y="6406759"/>
            <a:ext cx="2937664" cy="153888"/>
          </a:xfrm>
          <a:prstGeom prst="rect">
            <a:avLst/>
          </a:prstGeom>
          <a:noFill/>
          <a:ln w="9525">
            <a:noFill/>
            <a:miter lim="800000"/>
            <a:headEnd/>
            <a:tailEnd/>
          </a:ln>
        </p:spPr>
        <p:txBody>
          <a:bodyPr wrap="square" lIns="0" tIns="0" rIns="0" bIns="0" anchor="t">
            <a:prstTxWarp prst="textNoShape">
              <a:avLst/>
            </a:prstTxWarp>
            <a:noAutofit/>
          </a:bodyPr>
          <a:lstStyle/>
          <a:p>
            <a:pPr eaLnBrk="0" hangingPunct="0"/>
            <a:r>
              <a:rPr lang="en-US" sz="1000" dirty="0" err="1">
                <a:solidFill>
                  <a:schemeClr val="bg2"/>
                </a:solidFill>
              </a:rPr>
              <a:t>Mullard</a:t>
            </a:r>
            <a:r>
              <a:rPr lang="en-US" sz="1000" dirty="0">
                <a:solidFill>
                  <a:schemeClr val="bg2"/>
                </a:solidFill>
              </a:rPr>
              <a:t> A (2016). Nat Rev Drug Discovery 15: 447</a:t>
            </a:r>
          </a:p>
        </p:txBody>
      </p:sp>
      <p:sp>
        <p:nvSpPr>
          <p:cNvPr id="12" name="TextBox 11">
            <a:extLst>
              <a:ext uri="{FF2B5EF4-FFF2-40B4-BE49-F238E27FC236}">
                <a16:creationId xmlns:a16="http://schemas.microsoft.com/office/drawing/2014/main" id="{E6E2DA39-293A-A240-B352-B0A44332A81B}"/>
              </a:ext>
            </a:extLst>
          </p:cNvPr>
          <p:cNvSpPr txBox="1"/>
          <p:nvPr/>
        </p:nvSpPr>
        <p:spPr>
          <a:xfrm>
            <a:off x="274297" y="1117667"/>
            <a:ext cx="11622709" cy="263457"/>
          </a:xfrm>
          <a:prstGeom prst="rect">
            <a:avLst/>
          </a:prstGeom>
          <a:noFill/>
        </p:spPr>
        <p:txBody>
          <a:bodyPr wrap="square" lIns="0" tIns="0" rIns="0" bIns="0" rtlCol="0" anchor="t">
            <a:noAutofit/>
          </a:bodyPr>
          <a:lstStyle/>
          <a:p>
            <a:r>
              <a:rPr lang="es-ES" sz="1600" dirty="0" err="1">
                <a:solidFill>
                  <a:schemeClr val="bg2"/>
                </a:solidFill>
              </a:rPr>
              <a:t>Successful</a:t>
            </a:r>
            <a:r>
              <a:rPr lang="es-ES" sz="1600" dirty="0">
                <a:solidFill>
                  <a:schemeClr val="bg2"/>
                </a:solidFill>
              </a:rPr>
              <a:t> </a:t>
            </a:r>
            <a:r>
              <a:rPr lang="es-ES" sz="1600" dirty="0" err="1">
                <a:solidFill>
                  <a:schemeClr val="bg2"/>
                </a:solidFill>
              </a:rPr>
              <a:t>drug</a:t>
            </a:r>
            <a:r>
              <a:rPr lang="es-ES" sz="1600" dirty="0">
                <a:solidFill>
                  <a:schemeClr val="bg2"/>
                </a:solidFill>
              </a:rPr>
              <a:t> </a:t>
            </a:r>
            <a:r>
              <a:rPr lang="es-ES" sz="1600" dirty="0" err="1">
                <a:solidFill>
                  <a:schemeClr val="bg2"/>
                </a:solidFill>
              </a:rPr>
              <a:t>development</a:t>
            </a:r>
            <a:r>
              <a:rPr lang="es-ES" sz="1600" dirty="0">
                <a:solidFill>
                  <a:schemeClr val="bg2"/>
                </a:solidFill>
              </a:rPr>
              <a:t> in </a:t>
            </a:r>
            <a:r>
              <a:rPr lang="es-ES" sz="1600" dirty="0" err="1">
                <a:solidFill>
                  <a:schemeClr val="bg2"/>
                </a:solidFill>
              </a:rPr>
              <a:t>oncology</a:t>
            </a:r>
            <a:r>
              <a:rPr lang="es-ES" sz="1600" dirty="0">
                <a:solidFill>
                  <a:schemeClr val="bg2"/>
                </a:solidFill>
              </a:rPr>
              <a:t> </a:t>
            </a:r>
            <a:r>
              <a:rPr lang="es-ES" sz="1600" dirty="0" err="1">
                <a:solidFill>
                  <a:schemeClr val="bg2"/>
                </a:solidFill>
              </a:rPr>
              <a:t>is</a:t>
            </a:r>
            <a:r>
              <a:rPr lang="es-ES" sz="1600" dirty="0">
                <a:solidFill>
                  <a:schemeClr val="bg2"/>
                </a:solidFill>
              </a:rPr>
              <a:t> </a:t>
            </a:r>
            <a:r>
              <a:rPr lang="es-ES" sz="1600" dirty="0" err="1">
                <a:solidFill>
                  <a:schemeClr val="bg2"/>
                </a:solidFill>
              </a:rPr>
              <a:t>an</a:t>
            </a:r>
            <a:r>
              <a:rPr lang="es-ES" sz="1600" dirty="0">
                <a:solidFill>
                  <a:schemeClr val="bg2"/>
                </a:solidFill>
              </a:rPr>
              <a:t> </a:t>
            </a:r>
            <a:r>
              <a:rPr lang="es-ES" sz="1600" dirty="0" err="1">
                <a:solidFill>
                  <a:schemeClr val="bg2"/>
                </a:solidFill>
              </a:rPr>
              <a:t>increasingly</a:t>
            </a:r>
            <a:r>
              <a:rPr lang="es-ES" sz="1600" dirty="0">
                <a:solidFill>
                  <a:schemeClr val="bg2"/>
                </a:solidFill>
              </a:rPr>
              <a:t> </a:t>
            </a:r>
            <a:r>
              <a:rPr lang="es-ES" sz="1600" dirty="0" err="1">
                <a:solidFill>
                  <a:schemeClr val="bg2"/>
                </a:solidFill>
              </a:rPr>
              <a:t>difficult</a:t>
            </a:r>
            <a:r>
              <a:rPr lang="es-ES" sz="1600" dirty="0">
                <a:solidFill>
                  <a:schemeClr val="bg2"/>
                </a:solidFill>
              </a:rPr>
              <a:t> </a:t>
            </a:r>
            <a:r>
              <a:rPr lang="es-ES" sz="1600" dirty="0" err="1">
                <a:solidFill>
                  <a:schemeClr val="bg2"/>
                </a:solidFill>
              </a:rPr>
              <a:t>challenge</a:t>
            </a:r>
            <a:r>
              <a:rPr lang="es-ES" sz="1600" dirty="0">
                <a:solidFill>
                  <a:schemeClr val="bg2"/>
                </a:solidFill>
              </a:rPr>
              <a:t>…</a:t>
            </a:r>
          </a:p>
        </p:txBody>
      </p:sp>
      <p:graphicFrame>
        <p:nvGraphicFramePr>
          <p:cNvPr id="4" name="Chart 3">
            <a:extLst>
              <a:ext uri="{FF2B5EF4-FFF2-40B4-BE49-F238E27FC236}">
                <a16:creationId xmlns:a16="http://schemas.microsoft.com/office/drawing/2014/main" id="{7711C381-2181-43ED-ACC7-9A80ED4400F6}"/>
              </a:ext>
            </a:extLst>
          </p:cNvPr>
          <p:cNvGraphicFramePr/>
          <p:nvPr>
            <p:extLst>
              <p:ext uri="{D42A27DB-BD31-4B8C-83A1-F6EECF244321}">
                <p14:modId xmlns:p14="http://schemas.microsoft.com/office/powerpoint/2010/main" val="2902813065"/>
              </p:ext>
            </p:extLst>
          </p:nvPr>
        </p:nvGraphicFramePr>
        <p:xfrm>
          <a:off x="239091" y="1592263"/>
          <a:ext cx="11584609" cy="4546070"/>
        </p:xfrm>
        <a:graphic>
          <a:graphicData uri="http://schemas.openxmlformats.org/drawingml/2006/chart">
            <c:chart xmlns:c="http://schemas.openxmlformats.org/drawingml/2006/chart" xmlns:r="http://schemas.openxmlformats.org/officeDocument/2006/relationships" r:id="rId8"/>
          </a:graphicData>
        </a:graphic>
      </p:graphicFrame>
      <p:sp>
        <p:nvSpPr>
          <p:cNvPr id="10" name="Elipse 2">
            <a:extLst>
              <a:ext uri="{FF2B5EF4-FFF2-40B4-BE49-F238E27FC236}">
                <a16:creationId xmlns:a16="http://schemas.microsoft.com/office/drawing/2014/main" id="{35D13F34-B335-D44E-8C90-A871F9996313}"/>
              </a:ext>
            </a:extLst>
          </p:cNvPr>
          <p:cNvSpPr/>
          <p:nvPr/>
        </p:nvSpPr>
        <p:spPr>
          <a:xfrm>
            <a:off x="11209338" y="3386138"/>
            <a:ext cx="550756" cy="1482726"/>
          </a:xfrm>
          <a:prstGeom prst="roundRect">
            <a:avLst/>
          </a:prstGeom>
          <a:noFill/>
          <a:ln w="38100" cmpd="sng">
            <a:solidFill>
              <a:srgbClr val="FF66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11" name="CuadroTexto 5">
            <a:extLst>
              <a:ext uri="{FF2B5EF4-FFF2-40B4-BE49-F238E27FC236}">
                <a16:creationId xmlns:a16="http://schemas.microsoft.com/office/drawing/2014/main" id="{7D3294A6-B55E-F344-85A0-BAACA3C6F715}"/>
              </a:ext>
            </a:extLst>
          </p:cNvPr>
          <p:cNvSpPr txBox="1"/>
          <p:nvPr/>
        </p:nvSpPr>
        <p:spPr>
          <a:xfrm>
            <a:off x="11209338" y="3074529"/>
            <a:ext cx="550756" cy="246221"/>
          </a:xfrm>
          <a:prstGeom prst="rect">
            <a:avLst/>
          </a:prstGeom>
          <a:noFill/>
        </p:spPr>
        <p:txBody>
          <a:bodyPr wrap="square" lIns="0" tIns="0" rIns="0" bIns="0" rtlCol="0" anchor="t">
            <a:spAutoFit/>
          </a:bodyPr>
          <a:lstStyle/>
          <a:p>
            <a:pPr algn="ctr"/>
            <a:r>
              <a:rPr lang="es-ES" sz="1600" b="1" dirty="0">
                <a:solidFill>
                  <a:srgbClr val="FF6600"/>
                </a:solidFill>
              </a:rPr>
              <a:t>5%</a:t>
            </a:r>
          </a:p>
        </p:txBody>
      </p:sp>
    </p:spTree>
    <p:extLst>
      <p:ext uri="{BB962C8B-B14F-4D97-AF65-F5344CB8AC3E}">
        <p14:creationId xmlns:p14="http://schemas.microsoft.com/office/powerpoint/2010/main" val="38448687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88182" y="44121"/>
            <a:ext cx="11973464" cy="6858000"/>
          </a:xfrm>
          <a:prstGeom prst="rect">
            <a:avLst/>
          </a:prstGeom>
        </p:spPr>
      </p:pic>
      <p:pic>
        <p:nvPicPr>
          <p:cNvPr id="8"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01213" y="79746"/>
            <a:ext cx="1577103" cy="1099681"/>
          </a:xfrm>
          <a:prstGeom prst="rect">
            <a:avLst/>
          </a:prstGeom>
        </p:spPr>
      </p:pic>
      <p:sp>
        <p:nvSpPr>
          <p:cNvPr id="69" name="Rectangle 3"/>
          <p:cNvSpPr/>
          <p:nvPr/>
        </p:nvSpPr>
        <p:spPr>
          <a:xfrm>
            <a:off x="296292" y="652188"/>
            <a:ext cx="7213765" cy="380869"/>
          </a:xfrm>
          <a:prstGeom prst="rect">
            <a:avLst/>
          </a:prstGeom>
        </p:spPr>
        <p:txBody>
          <a:bodyPr wrap="square" lIns="41144" tIns="20572" rIns="41144" bIns="20572">
            <a:spAutoFit/>
          </a:bodyPr>
          <a:lstStyle/>
          <a:p>
            <a:r>
              <a:rPr lang="en-US" sz="2205" b="1" dirty="0">
                <a:solidFill>
                  <a:srgbClr val="E94A1A"/>
                </a:solidFill>
                <a:latin typeface="Helvetica Neue" charset="0"/>
                <a:ea typeface="Helvetica Neue" charset="0"/>
                <a:cs typeface="Helvetica Neue" charset="0"/>
              </a:rPr>
              <a:t>De la IDEA hasta </a:t>
            </a:r>
            <a:r>
              <a:rPr lang="en-US" sz="2205" b="1" dirty="0" err="1">
                <a:solidFill>
                  <a:srgbClr val="E94A1A"/>
                </a:solidFill>
                <a:latin typeface="Helvetica Neue" charset="0"/>
                <a:ea typeface="Helvetica Neue" charset="0"/>
                <a:cs typeface="Helvetica Neue" charset="0"/>
              </a:rPr>
              <a:t>los</a:t>
            </a:r>
            <a:r>
              <a:rPr lang="en-US" sz="2205" b="1" dirty="0">
                <a:solidFill>
                  <a:srgbClr val="E94A1A"/>
                </a:solidFill>
                <a:latin typeface="Helvetica Neue" charset="0"/>
                <a:ea typeface="Helvetica Neue" charset="0"/>
                <a:cs typeface="Helvetica Neue" charset="0"/>
              </a:rPr>
              <a:t> RESULTADOS </a:t>
            </a:r>
            <a:endParaRPr lang="en-US" sz="2205" b="1" dirty="0">
              <a:solidFill>
                <a:srgbClr val="E34D20"/>
              </a:solidFill>
              <a:latin typeface="Helvetica Neue" charset="0"/>
              <a:ea typeface="Helvetica Neue" charset="0"/>
              <a:cs typeface="Helvetica Neue" charset="0"/>
            </a:endParaRPr>
          </a:p>
        </p:txBody>
      </p:sp>
      <p:cxnSp>
        <p:nvCxnSpPr>
          <p:cNvPr id="5" name="Straight Connector 48"/>
          <p:cNvCxnSpPr/>
          <p:nvPr/>
        </p:nvCxnSpPr>
        <p:spPr>
          <a:xfrm flipH="1">
            <a:off x="8894225" y="3841242"/>
            <a:ext cx="934921" cy="0"/>
          </a:xfrm>
          <a:prstGeom prst="line">
            <a:avLst/>
          </a:prstGeom>
          <a:ln w="76200" cmpd="sng">
            <a:solidFill>
              <a:srgbClr val="25AAE1"/>
            </a:solidFill>
          </a:ln>
        </p:spPr>
        <p:style>
          <a:lnRef idx="1">
            <a:schemeClr val="accent1"/>
          </a:lnRef>
          <a:fillRef idx="0">
            <a:schemeClr val="accent1"/>
          </a:fillRef>
          <a:effectRef idx="0">
            <a:schemeClr val="accent1"/>
          </a:effectRef>
          <a:fontRef idx="minor">
            <a:schemeClr val="tx1"/>
          </a:fontRef>
        </p:style>
      </p:cxnSp>
      <p:cxnSp>
        <p:nvCxnSpPr>
          <p:cNvPr id="6" name="Straight Connector 51"/>
          <p:cNvCxnSpPr/>
          <p:nvPr/>
        </p:nvCxnSpPr>
        <p:spPr>
          <a:xfrm flipH="1">
            <a:off x="6052173" y="3840160"/>
            <a:ext cx="2823284" cy="2165"/>
          </a:xfrm>
          <a:prstGeom prst="line">
            <a:avLst/>
          </a:prstGeom>
          <a:ln w="76200" cmpd="sng">
            <a:solidFill>
              <a:srgbClr val="ED6841"/>
            </a:solidFill>
          </a:ln>
        </p:spPr>
        <p:style>
          <a:lnRef idx="1">
            <a:schemeClr val="accent1"/>
          </a:lnRef>
          <a:fillRef idx="0">
            <a:schemeClr val="accent1"/>
          </a:fillRef>
          <a:effectRef idx="0">
            <a:schemeClr val="accent1"/>
          </a:effectRef>
          <a:fontRef idx="minor">
            <a:schemeClr val="tx1"/>
          </a:fontRef>
        </p:style>
      </p:cxnSp>
      <p:cxnSp>
        <p:nvCxnSpPr>
          <p:cNvPr id="7" name="Straight Connector 52"/>
          <p:cNvCxnSpPr>
            <a:cxnSpLocks/>
          </p:cNvCxnSpPr>
          <p:nvPr/>
        </p:nvCxnSpPr>
        <p:spPr>
          <a:xfrm flipH="1" flipV="1">
            <a:off x="4650163" y="3834382"/>
            <a:ext cx="1402011" cy="4695"/>
          </a:xfrm>
          <a:prstGeom prst="line">
            <a:avLst/>
          </a:prstGeom>
          <a:ln w="76200" cmpd="sng">
            <a:solidFill>
              <a:srgbClr val="B6B6B6"/>
            </a:solidFill>
          </a:ln>
        </p:spPr>
        <p:style>
          <a:lnRef idx="1">
            <a:schemeClr val="accent1"/>
          </a:lnRef>
          <a:fillRef idx="0">
            <a:schemeClr val="accent1"/>
          </a:fillRef>
          <a:effectRef idx="0">
            <a:schemeClr val="accent1"/>
          </a:effectRef>
          <a:fontRef idx="minor">
            <a:schemeClr val="tx1"/>
          </a:fontRef>
        </p:style>
      </p:cxnSp>
      <p:cxnSp>
        <p:nvCxnSpPr>
          <p:cNvPr id="9" name="Straight Connector 53"/>
          <p:cNvCxnSpPr/>
          <p:nvPr/>
        </p:nvCxnSpPr>
        <p:spPr>
          <a:xfrm>
            <a:off x="3437245" y="3841242"/>
            <a:ext cx="1212918" cy="0"/>
          </a:xfrm>
          <a:prstGeom prst="line">
            <a:avLst/>
          </a:prstGeom>
          <a:ln w="76200" cmpd="sng">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7" name="Straight Connector 53"/>
          <p:cNvCxnSpPr/>
          <p:nvPr/>
        </p:nvCxnSpPr>
        <p:spPr>
          <a:xfrm>
            <a:off x="9812312" y="3841242"/>
            <a:ext cx="1212918" cy="0"/>
          </a:xfrm>
          <a:prstGeom prst="line">
            <a:avLst/>
          </a:prstGeom>
          <a:ln w="76200" cmpd="sng">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8" name="Rectangle 32"/>
          <p:cNvSpPr/>
          <p:nvPr/>
        </p:nvSpPr>
        <p:spPr>
          <a:xfrm>
            <a:off x="3424753" y="3095894"/>
            <a:ext cx="1237903" cy="523220"/>
          </a:xfrm>
          <a:prstGeom prst="rect">
            <a:avLst/>
          </a:prstGeom>
        </p:spPr>
        <p:txBody>
          <a:bodyPr wrap="none">
            <a:spAutoFit/>
          </a:bodyPr>
          <a:lstStyle/>
          <a:p>
            <a:pPr algn="ctr"/>
            <a:r>
              <a:rPr lang="en-US" sz="1400" dirty="0" err="1">
                <a:solidFill>
                  <a:srgbClr val="716E6F"/>
                </a:solidFill>
                <a:latin typeface="Calibri" panose="020F0502020204030204" pitchFamily="34" charset="0"/>
                <a:ea typeface="Corbel" charset="0"/>
                <a:cs typeface="Calibri" panose="020F0502020204030204" pitchFamily="34" charset="0"/>
              </a:rPr>
              <a:t>Redacción</a:t>
            </a:r>
            <a:r>
              <a:rPr lang="en-US" sz="1400" dirty="0">
                <a:solidFill>
                  <a:srgbClr val="716E6F"/>
                </a:solidFill>
                <a:latin typeface="Calibri" panose="020F0502020204030204" pitchFamily="34" charset="0"/>
                <a:ea typeface="Corbel" charset="0"/>
                <a:cs typeface="Calibri" panose="020F0502020204030204" pitchFamily="34" charset="0"/>
              </a:rPr>
              <a:t> del </a:t>
            </a:r>
          </a:p>
          <a:p>
            <a:pPr algn="ctr"/>
            <a:r>
              <a:rPr lang="en-US" sz="1400" dirty="0" err="1">
                <a:solidFill>
                  <a:srgbClr val="716E6F"/>
                </a:solidFill>
                <a:latin typeface="Calibri" panose="020F0502020204030204" pitchFamily="34" charset="0"/>
                <a:ea typeface="Corbel" charset="0"/>
                <a:cs typeface="Calibri" panose="020F0502020204030204" pitchFamily="34" charset="0"/>
              </a:rPr>
              <a:t>protocolo</a:t>
            </a:r>
            <a:r>
              <a:rPr lang="en-US" sz="1400" dirty="0">
                <a:solidFill>
                  <a:srgbClr val="716E6F"/>
                </a:solidFill>
                <a:latin typeface="Calibri" panose="020F0502020204030204" pitchFamily="34" charset="0"/>
                <a:ea typeface="Corbel" charset="0"/>
                <a:cs typeface="Calibri" panose="020F0502020204030204" pitchFamily="34" charset="0"/>
              </a:rPr>
              <a:t> </a:t>
            </a:r>
          </a:p>
        </p:txBody>
      </p:sp>
      <p:sp>
        <p:nvSpPr>
          <p:cNvPr id="19" name="Rectangle 32"/>
          <p:cNvSpPr/>
          <p:nvPr/>
        </p:nvSpPr>
        <p:spPr>
          <a:xfrm>
            <a:off x="4748763" y="3095894"/>
            <a:ext cx="1285929" cy="523220"/>
          </a:xfrm>
          <a:prstGeom prst="rect">
            <a:avLst/>
          </a:prstGeom>
        </p:spPr>
        <p:txBody>
          <a:bodyPr wrap="none">
            <a:spAutoFit/>
          </a:bodyPr>
          <a:lstStyle/>
          <a:p>
            <a:pPr algn="ctr"/>
            <a:r>
              <a:rPr lang="en-US" sz="1400" dirty="0">
                <a:solidFill>
                  <a:srgbClr val="716E6F"/>
                </a:solidFill>
                <a:latin typeface="Calibri" panose="020F0502020204030204" pitchFamily="34" charset="0"/>
                <a:ea typeface="Corbel" charset="0"/>
                <a:cs typeface="Calibri" panose="020F0502020204030204" pitchFamily="34" charset="0"/>
              </a:rPr>
              <a:t>Regulatory </a:t>
            </a:r>
          </a:p>
          <a:p>
            <a:pPr algn="ctr"/>
            <a:r>
              <a:rPr lang="en-US" sz="1400" dirty="0">
                <a:solidFill>
                  <a:srgbClr val="716E6F"/>
                </a:solidFill>
                <a:latin typeface="Calibri" panose="020F0502020204030204" pitchFamily="34" charset="0"/>
                <a:ea typeface="Corbel" charset="0"/>
                <a:cs typeface="Calibri" panose="020F0502020204030204" pitchFamily="34" charset="0"/>
              </a:rPr>
              <a:t>(AEM, CEICs, ...</a:t>
            </a:r>
          </a:p>
        </p:txBody>
      </p:sp>
      <p:sp>
        <p:nvSpPr>
          <p:cNvPr id="20" name="Rectangle 32"/>
          <p:cNvSpPr/>
          <p:nvPr/>
        </p:nvSpPr>
        <p:spPr>
          <a:xfrm>
            <a:off x="6367467" y="3095894"/>
            <a:ext cx="2263953" cy="523220"/>
          </a:xfrm>
          <a:prstGeom prst="rect">
            <a:avLst/>
          </a:prstGeom>
        </p:spPr>
        <p:txBody>
          <a:bodyPr wrap="none">
            <a:spAutoFit/>
          </a:bodyPr>
          <a:lstStyle/>
          <a:p>
            <a:pPr algn="ctr"/>
            <a:r>
              <a:rPr lang="en-US" sz="1400" dirty="0" err="1">
                <a:solidFill>
                  <a:srgbClr val="716E6F"/>
                </a:solidFill>
                <a:latin typeface="Calibri" panose="020F0502020204030204" pitchFamily="34" charset="0"/>
                <a:ea typeface="Corbel" charset="0"/>
                <a:cs typeface="Calibri" panose="020F0502020204030204" pitchFamily="34" charset="0"/>
              </a:rPr>
              <a:t>Reclutamiento</a:t>
            </a:r>
            <a:endParaRPr lang="en-US" sz="1400" dirty="0">
              <a:solidFill>
                <a:srgbClr val="716E6F"/>
              </a:solidFill>
              <a:latin typeface="Calibri" panose="020F0502020204030204" pitchFamily="34" charset="0"/>
              <a:ea typeface="Corbel" charset="0"/>
              <a:cs typeface="Calibri" panose="020F0502020204030204" pitchFamily="34" charset="0"/>
            </a:endParaRPr>
          </a:p>
          <a:p>
            <a:pPr algn="ctr"/>
            <a:r>
              <a:rPr lang="en-US" sz="1400" dirty="0">
                <a:solidFill>
                  <a:srgbClr val="716E6F"/>
                </a:solidFill>
                <a:latin typeface="Calibri" panose="020F0502020204030204" pitchFamily="34" charset="0"/>
                <a:ea typeface="Corbel" charset="0"/>
                <a:cs typeface="Calibri" panose="020F0502020204030204" pitchFamily="34" charset="0"/>
              </a:rPr>
              <a:t>(</a:t>
            </a:r>
            <a:r>
              <a:rPr lang="en-US" sz="1400" dirty="0" err="1">
                <a:solidFill>
                  <a:srgbClr val="716E6F"/>
                </a:solidFill>
                <a:latin typeface="Calibri" panose="020F0502020204030204" pitchFamily="34" charset="0"/>
                <a:ea typeface="Corbel" charset="0"/>
                <a:cs typeface="Calibri" panose="020F0502020204030204" pitchFamily="34" charset="0"/>
              </a:rPr>
              <a:t>Tratamiento</a:t>
            </a:r>
            <a:r>
              <a:rPr lang="en-US" sz="1400" dirty="0">
                <a:solidFill>
                  <a:srgbClr val="716E6F"/>
                </a:solidFill>
                <a:latin typeface="Calibri" panose="020F0502020204030204" pitchFamily="34" charset="0"/>
                <a:ea typeface="Corbel" charset="0"/>
                <a:cs typeface="Calibri" panose="020F0502020204030204" pitchFamily="34" charset="0"/>
              </a:rPr>
              <a:t> + </a:t>
            </a:r>
            <a:r>
              <a:rPr lang="en-US" sz="1400" dirty="0" err="1">
                <a:solidFill>
                  <a:srgbClr val="716E6F"/>
                </a:solidFill>
                <a:latin typeface="Calibri" panose="020F0502020204030204" pitchFamily="34" charset="0"/>
                <a:ea typeface="Corbel" charset="0"/>
                <a:cs typeface="Calibri" panose="020F0502020204030204" pitchFamily="34" charset="0"/>
              </a:rPr>
              <a:t>Seguimiento</a:t>
            </a:r>
            <a:r>
              <a:rPr lang="en-US" sz="1400" dirty="0">
                <a:solidFill>
                  <a:srgbClr val="716E6F"/>
                </a:solidFill>
                <a:latin typeface="Calibri" panose="020F0502020204030204" pitchFamily="34" charset="0"/>
                <a:ea typeface="Corbel" charset="0"/>
                <a:cs typeface="Calibri" panose="020F0502020204030204" pitchFamily="34" charset="0"/>
              </a:rPr>
              <a:t>)</a:t>
            </a:r>
          </a:p>
        </p:txBody>
      </p:sp>
      <p:sp>
        <p:nvSpPr>
          <p:cNvPr id="21" name="Rectangle 32"/>
          <p:cNvSpPr/>
          <p:nvPr/>
        </p:nvSpPr>
        <p:spPr>
          <a:xfrm>
            <a:off x="8996040" y="3311337"/>
            <a:ext cx="624723" cy="307777"/>
          </a:xfrm>
          <a:prstGeom prst="rect">
            <a:avLst/>
          </a:prstGeom>
        </p:spPr>
        <p:txBody>
          <a:bodyPr wrap="none">
            <a:spAutoFit/>
          </a:bodyPr>
          <a:lstStyle/>
          <a:p>
            <a:r>
              <a:rPr lang="en-US" sz="1400" dirty="0" err="1">
                <a:solidFill>
                  <a:srgbClr val="716E6F"/>
                </a:solidFill>
                <a:latin typeface="Calibri" panose="020F0502020204030204" pitchFamily="34" charset="0"/>
                <a:ea typeface="Corbel" charset="0"/>
                <a:cs typeface="Calibri" panose="020F0502020204030204" pitchFamily="34" charset="0"/>
              </a:rPr>
              <a:t>Cierre</a:t>
            </a:r>
            <a:endParaRPr lang="en-US" sz="1400" dirty="0">
              <a:solidFill>
                <a:srgbClr val="716E6F"/>
              </a:solidFill>
              <a:latin typeface="Calibri" panose="020F0502020204030204" pitchFamily="34" charset="0"/>
              <a:ea typeface="Corbel" charset="0"/>
              <a:cs typeface="Calibri" panose="020F0502020204030204" pitchFamily="34" charset="0"/>
            </a:endParaRPr>
          </a:p>
        </p:txBody>
      </p:sp>
      <p:sp>
        <p:nvSpPr>
          <p:cNvPr id="22" name="Rectangle 32"/>
          <p:cNvSpPr/>
          <p:nvPr/>
        </p:nvSpPr>
        <p:spPr>
          <a:xfrm>
            <a:off x="9908055" y="3311337"/>
            <a:ext cx="1016753" cy="307777"/>
          </a:xfrm>
          <a:prstGeom prst="rect">
            <a:avLst/>
          </a:prstGeom>
        </p:spPr>
        <p:txBody>
          <a:bodyPr wrap="none">
            <a:spAutoFit/>
          </a:bodyPr>
          <a:lstStyle/>
          <a:p>
            <a:r>
              <a:rPr lang="en-US" sz="1400" dirty="0" err="1">
                <a:solidFill>
                  <a:srgbClr val="716E6F"/>
                </a:solidFill>
                <a:latin typeface="Calibri" panose="020F0502020204030204" pitchFamily="34" charset="0"/>
                <a:ea typeface="Corbel" charset="0"/>
                <a:cs typeface="Calibri" panose="020F0502020204030204" pitchFamily="34" charset="0"/>
              </a:rPr>
              <a:t>Publicación</a:t>
            </a:r>
            <a:endParaRPr lang="en-US" sz="1400" dirty="0">
              <a:solidFill>
                <a:srgbClr val="716E6F"/>
              </a:solidFill>
              <a:latin typeface="Calibri" panose="020F0502020204030204" pitchFamily="34" charset="0"/>
              <a:ea typeface="Corbel" charset="0"/>
              <a:cs typeface="Calibri" panose="020F0502020204030204" pitchFamily="34" charset="0"/>
            </a:endParaRPr>
          </a:p>
        </p:txBody>
      </p:sp>
      <p:sp>
        <p:nvSpPr>
          <p:cNvPr id="23" name="Rectangle 42"/>
          <p:cNvSpPr/>
          <p:nvPr/>
        </p:nvSpPr>
        <p:spPr>
          <a:xfrm>
            <a:off x="3528485" y="4004703"/>
            <a:ext cx="1030438" cy="300082"/>
          </a:xfrm>
          <a:prstGeom prst="rect">
            <a:avLst/>
          </a:prstGeom>
        </p:spPr>
        <p:txBody>
          <a:bodyPr wrap="square">
            <a:spAutoFit/>
          </a:bodyPr>
          <a:lstStyle/>
          <a:p>
            <a:r>
              <a:rPr lang="en-US" sz="1350" b="1" dirty="0">
                <a:solidFill>
                  <a:srgbClr val="716E6F"/>
                </a:solidFill>
                <a:latin typeface="Corbel" charset="0"/>
                <a:ea typeface="Corbel" charset="0"/>
                <a:cs typeface="Corbel" charset="0"/>
              </a:rPr>
              <a:t>1-4 </a:t>
            </a:r>
            <a:r>
              <a:rPr lang="en-US" sz="1350" b="1" dirty="0" err="1">
                <a:solidFill>
                  <a:srgbClr val="716E6F"/>
                </a:solidFill>
                <a:latin typeface="Corbel" charset="0"/>
                <a:ea typeface="Corbel" charset="0"/>
                <a:cs typeface="Corbel" charset="0"/>
              </a:rPr>
              <a:t>meses</a:t>
            </a:r>
            <a:endParaRPr lang="en-US" sz="1350" b="1" dirty="0">
              <a:solidFill>
                <a:srgbClr val="716E6F"/>
              </a:solidFill>
              <a:latin typeface="Corbel" charset="0"/>
              <a:ea typeface="Corbel" charset="0"/>
              <a:cs typeface="Corbel" charset="0"/>
            </a:endParaRPr>
          </a:p>
        </p:txBody>
      </p:sp>
      <p:sp>
        <p:nvSpPr>
          <p:cNvPr id="24" name="Rectangle 42"/>
          <p:cNvSpPr/>
          <p:nvPr/>
        </p:nvSpPr>
        <p:spPr>
          <a:xfrm>
            <a:off x="8942115" y="4004703"/>
            <a:ext cx="839140" cy="300082"/>
          </a:xfrm>
          <a:prstGeom prst="rect">
            <a:avLst/>
          </a:prstGeom>
        </p:spPr>
        <p:txBody>
          <a:bodyPr wrap="square">
            <a:spAutoFit/>
          </a:bodyPr>
          <a:lstStyle/>
          <a:p>
            <a:pPr algn="ctr"/>
            <a:r>
              <a:rPr lang="en-US" sz="1350" b="1" dirty="0">
                <a:solidFill>
                  <a:srgbClr val="716E6F"/>
                </a:solidFill>
                <a:latin typeface="Corbel" charset="0"/>
                <a:ea typeface="Corbel" charset="0"/>
                <a:cs typeface="Corbel" charset="0"/>
              </a:rPr>
              <a:t>4m</a:t>
            </a:r>
          </a:p>
        </p:txBody>
      </p:sp>
      <p:sp>
        <p:nvSpPr>
          <p:cNvPr id="25" name="Rectangle 42"/>
          <p:cNvSpPr/>
          <p:nvPr/>
        </p:nvSpPr>
        <p:spPr>
          <a:xfrm>
            <a:off x="4717366" y="4004703"/>
            <a:ext cx="1334808" cy="300082"/>
          </a:xfrm>
          <a:prstGeom prst="rect">
            <a:avLst/>
          </a:prstGeom>
        </p:spPr>
        <p:txBody>
          <a:bodyPr wrap="square">
            <a:spAutoFit/>
          </a:bodyPr>
          <a:lstStyle/>
          <a:p>
            <a:pPr algn="ctr"/>
            <a:r>
              <a:rPr lang="en-US" sz="1350" b="1" dirty="0">
                <a:solidFill>
                  <a:srgbClr val="716E6F"/>
                </a:solidFill>
                <a:latin typeface="Corbel" charset="0"/>
                <a:ea typeface="Corbel" charset="0"/>
                <a:cs typeface="Corbel" charset="0"/>
              </a:rPr>
              <a:t>3-4 </a:t>
            </a:r>
            <a:r>
              <a:rPr lang="en-US" sz="1350" b="1" dirty="0" err="1">
                <a:solidFill>
                  <a:srgbClr val="716E6F"/>
                </a:solidFill>
                <a:latin typeface="Corbel" charset="0"/>
                <a:ea typeface="Corbel" charset="0"/>
                <a:cs typeface="Corbel" charset="0"/>
              </a:rPr>
              <a:t>meses</a:t>
            </a:r>
            <a:endParaRPr lang="en-US" sz="1350" b="1" dirty="0">
              <a:solidFill>
                <a:srgbClr val="716E6F"/>
              </a:solidFill>
              <a:latin typeface="Corbel" charset="0"/>
              <a:ea typeface="Corbel" charset="0"/>
              <a:cs typeface="Corbel" charset="0"/>
            </a:endParaRPr>
          </a:p>
        </p:txBody>
      </p:sp>
      <p:pic>
        <p:nvPicPr>
          <p:cNvPr id="16" name="Imagen 15" descr="graph.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10443" y="4904821"/>
            <a:ext cx="506744" cy="506744"/>
          </a:xfrm>
          <a:prstGeom prst="rect">
            <a:avLst/>
          </a:prstGeom>
        </p:spPr>
      </p:pic>
      <p:pic>
        <p:nvPicPr>
          <p:cNvPr id="26" name="Imagen 25" descr="publication.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118944" y="4830342"/>
            <a:ext cx="599655" cy="599655"/>
          </a:xfrm>
          <a:prstGeom prst="rect">
            <a:avLst/>
          </a:prstGeom>
        </p:spPr>
      </p:pic>
      <p:pic>
        <p:nvPicPr>
          <p:cNvPr id="27" name="Imagen 26" descr="2086.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84279" y="4836807"/>
            <a:ext cx="554813" cy="554813"/>
          </a:xfrm>
          <a:prstGeom prst="rect">
            <a:avLst/>
          </a:prstGeom>
        </p:spPr>
      </p:pic>
      <p:pic>
        <p:nvPicPr>
          <p:cNvPr id="4" name="Imagen 3" descr="international-delivery.png">
            <a:hlinkClick r:id="" action="ppaction://hlinkshowjump?jump=nextslide"/>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08001" y="4848846"/>
            <a:ext cx="589817" cy="589817"/>
          </a:xfrm>
          <a:prstGeom prst="rect">
            <a:avLst/>
          </a:prstGeom>
        </p:spPr>
      </p:pic>
      <p:cxnSp>
        <p:nvCxnSpPr>
          <p:cNvPr id="28" name="Straight Connector 48">
            <a:extLst>
              <a:ext uri="{FF2B5EF4-FFF2-40B4-BE49-F238E27FC236}">
                <a16:creationId xmlns:a16="http://schemas.microsoft.com/office/drawing/2014/main" id="{B85BD34B-D835-9141-8B02-2DBC43499DFA}"/>
              </a:ext>
            </a:extLst>
          </p:cNvPr>
          <p:cNvCxnSpPr>
            <a:cxnSpLocks/>
          </p:cNvCxnSpPr>
          <p:nvPr/>
        </p:nvCxnSpPr>
        <p:spPr>
          <a:xfrm flipH="1">
            <a:off x="1107160" y="3841242"/>
            <a:ext cx="2336988" cy="0"/>
          </a:xfrm>
          <a:prstGeom prst="line">
            <a:avLst/>
          </a:prstGeom>
          <a:ln w="76200" cmpd="sng">
            <a:solidFill>
              <a:srgbClr val="25AAE1"/>
            </a:solidFill>
          </a:ln>
        </p:spPr>
        <p:style>
          <a:lnRef idx="1">
            <a:schemeClr val="accent1"/>
          </a:lnRef>
          <a:fillRef idx="0">
            <a:schemeClr val="accent1"/>
          </a:fillRef>
          <a:effectRef idx="0">
            <a:schemeClr val="accent1"/>
          </a:effectRef>
          <a:fontRef idx="minor">
            <a:schemeClr val="tx1"/>
          </a:fontRef>
        </p:style>
      </p:cxnSp>
      <p:sp>
        <p:nvSpPr>
          <p:cNvPr id="29" name="Rectangle 32">
            <a:extLst>
              <a:ext uri="{FF2B5EF4-FFF2-40B4-BE49-F238E27FC236}">
                <a16:creationId xmlns:a16="http://schemas.microsoft.com/office/drawing/2014/main" id="{5DA1D458-5F86-5242-AEA6-89C158C76D09}"/>
              </a:ext>
            </a:extLst>
          </p:cNvPr>
          <p:cNvSpPr/>
          <p:nvPr/>
        </p:nvSpPr>
        <p:spPr>
          <a:xfrm>
            <a:off x="1343915" y="3311337"/>
            <a:ext cx="1863479" cy="307777"/>
          </a:xfrm>
          <a:prstGeom prst="rect">
            <a:avLst/>
          </a:prstGeom>
        </p:spPr>
        <p:txBody>
          <a:bodyPr wrap="square">
            <a:spAutoFit/>
          </a:bodyPr>
          <a:lstStyle/>
          <a:p>
            <a:pPr algn="ctr"/>
            <a:r>
              <a:rPr lang="en-US" sz="1400" dirty="0" err="1">
                <a:solidFill>
                  <a:srgbClr val="716E6F"/>
                </a:solidFill>
                <a:latin typeface="Calibri" panose="020F0502020204030204" pitchFamily="34" charset="0"/>
                <a:ea typeface="Corbel" charset="0"/>
                <a:cs typeface="Calibri" panose="020F0502020204030204" pitchFamily="34" charset="0"/>
              </a:rPr>
              <a:t>Desarrollo</a:t>
            </a:r>
            <a:r>
              <a:rPr lang="en-US" sz="1400" dirty="0">
                <a:solidFill>
                  <a:srgbClr val="716E6F"/>
                </a:solidFill>
                <a:latin typeface="Calibri" panose="020F0502020204030204" pitchFamily="34" charset="0"/>
                <a:ea typeface="Corbel" charset="0"/>
                <a:cs typeface="Calibri" panose="020F0502020204030204" pitchFamily="34" charset="0"/>
              </a:rPr>
              <a:t> de la Idea</a:t>
            </a:r>
          </a:p>
        </p:txBody>
      </p:sp>
      <p:sp>
        <p:nvSpPr>
          <p:cNvPr id="30" name="Rectangle 42">
            <a:extLst>
              <a:ext uri="{FF2B5EF4-FFF2-40B4-BE49-F238E27FC236}">
                <a16:creationId xmlns:a16="http://schemas.microsoft.com/office/drawing/2014/main" id="{69C403D5-E35B-554F-A5EF-DF5F0C5D0552}"/>
              </a:ext>
            </a:extLst>
          </p:cNvPr>
          <p:cNvSpPr/>
          <p:nvPr/>
        </p:nvSpPr>
        <p:spPr>
          <a:xfrm>
            <a:off x="1492906" y="4004703"/>
            <a:ext cx="1565497" cy="300082"/>
          </a:xfrm>
          <a:prstGeom prst="rect">
            <a:avLst/>
          </a:prstGeom>
        </p:spPr>
        <p:txBody>
          <a:bodyPr wrap="square">
            <a:spAutoFit/>
          </a:bodyPr>
          <a:lstStyle/>
          <a:p>
            <a:pPr algn="ctr"/>
            <a:r>
              <a:rPr lang="en-US" sz="1350" b="1" dirty="0">
                <a:solidFill>
                  <a:srgbClr val="716E6F"/>
                </a:solidFill>
                <a:latin typeface="Corbel" charset="0"/>
                <a:ea typeface="Corbel" charset="0"/>
                <a:cs typeface="Corbel" charset="0"/>
              </a:rPr>
              <a:t>6-24 </a:t>
            </a:r>
            <a:r>
              <a:rPr lang="en-US" sz="1350" b="1" dirty="0" err="1">
                <a:solidFill>
                  <a:srgbClr val="716E6F"/>
                </a:solidFill>
                <a:latin typeface="Corbel" charset="0"/>
                <a:ea typeface="Corbel" charset="0"/>
                <a:cs typeface="Corbel" charset="0"/>
              </a:rPr>
              <a:t>meses</a:t>
            </a:r>
            <a:endParaRPr lang="en-US" sz="1350" b="1" dirty="0">
              <a:solidFill>
                <a:srgbClr val="716E6F"/>
              </a:solidFill>
              <a:latin typeface="Corbel" charset="0"/>
              <a:ea typeface="Corbel" charset="0"/>
              <a:cs typeface="Corbel" charset="0"/>
            </a:endParaRPr>
          </a:p>
        </p:txBody>
      </p:sp>
      <p:pic>
        <p:nvPicPr>
          <p:cNvPr id="11" name="Imagen 10">
            <a:extLst>
              <a:ext uri="{FF2B5EF4-FFF2-40B4-BE49-F238E27FC236}">
                <a16:creationId xmlns:a16="http://schemas.microsoft.com/office/drawing/2014/main" id="{76398C39-55DB-3740-B632-219911401D25}"/>
              </a:ext>
            </a:extLst>
          </p:cNvPr>
          <p:cNvPicPr>
            <a:picLocks noChangeAspect="1"/>
          </p:cNvPicPr>
          <p:nvPr/>
        </p:nvPicPr>
        <p:blipFill>
          <a:blip r:embed="rId9"/>
          <a:stretch>
            <a:fillRect/>
          </a:stretch>
        </p:blipFill>
        <p:spPr>
          <a:xfrm>
            <a:off x="3738690" y="4835227"/>
            <a:ext cx="610028" cy="610028"/>
          </a:xfrm>
          <a:prstGeom prst="rect">
            <a:avLst/>
          </a:prstGeom>
        </p:spPr>
      </p:pic>
      <p:pic>
        <p:nvPicPr>
          <p:cNvPr id="13" name="Imagen 12">
            <a:extLst>
              <a:ext uri="{FF2B5EF4-FFF2-40B4-BE49-F238E27FC236}">
                <a16:creationId xmlns:a16="http://schemas.microsoft.com/office/drawing/2014/main" id="{630989C1-8C2C-A84F-9A58-18477EA98A85}"/>
              </a:ext>
            </a:extLst>
          </p:cNvPr>
          <p:cNvPicPr>
            <a:picLocks noChangeAspect="1"/>
          </p:cNvPicPr>
          <p:nvPr/>
        </p:nvPicPr>
        <p:blipFill>
          <a:blip r:embed="rId10"/>
          <a:stretch>
            <a:fillRect/>
          </a:stretch>
        </p:blipFill>
        <p:spPr>
          <a:xfrm>
            <a:off x="1972952" y="4838343"/>
            <a:ext cx="605404" cy="605404"/>
          </a:xfrm>
          <a:prstGeom prst="rect">
            <a:avLst/>
          </a:prstGeom>
        </p:spPr>
      </p:pic>
      <p:sp>
        <p:nvSpPr>
          <p:cNvPr id="31" name="Rectangle 42">
            <a:extLst>
              <a:ext uri="{FF2B5EF4-FFF2-40B4-BE49-F238E27FC236}">
                <a16:creationId xmlns:a16="http://schemas.microsoft.com/office/drawing/2014/main" id="{D4D2DE68-6132-1349-B261-B4FF994B54DD}"/>
              </a:ext>
            </a:extLst>
          </p:cNvPr>
          <p:cNvSpPr/>
          <p:nvPr/>
        </p:nvSpPr>
        <p:spPr>
          <a:xfrm>
            <a:off x="6287928" y="4004703"/>
            <a:ext cx="2351775" cy="310787"/>
          </a:xfrm>
          <a:prstGeom prst="rect">
            <a:avLst/>
          </a:prstGeom>
        </p:spPr>
        <p:txBody>
          <a:bodyPr wrap="square">
            <a:spAutoFit/>
          </a:bodyPr>
          <a:lstStyle/>
          <a:p>
            <a:pPr algn="ctr"/>
            <a:r>
              <a:rPr lang="en-US" sz="1350" b="1" dirty="0">
                <a:solidFill>
                  <a:srgbClr val="716E6F"/>
                </a:solidFill>
                <a:latin typeface="Corbel" charset="0"/>
                <a:ea typeface="Corbel" charset="0"/>
                <a:cs typeface="Corbel" charset="0"/>
              </a:rPr>
              <a:t>12 – 36 </a:t>
            </a:r>
            <a:r>
              <a:rPr lang="en-US" sz="1350" b="1" dirty="0" err="1">
                <a:solidFill>
                  <a:srgbClr val="716E6F"/>
                </a:solidFill>
                <a:latin typeface="Corbel" charset="0"/>
                <a:ea typeface="Corbel" charset="0"/>
                <a:cs typeface="Corbel" charset="0"/>
              </a:rPr>
              <a:t>meses</a:t>
            </a:r>
            <a:endParaRPr lang="en-US" sz="1350" b="1" dirty="0">
              <a:solidFill>
                <a:srgbClr val="716E6F"/>
              </a:solidFill>
              <a:latin typeface="Corbel" charset="0"/>
              <a:ea typeface="Corbel" charset="0"/>
              <a:cs typeface="Corbel" charset="0"/>
            </a:endParaRPr>
          </a:p>
        </p:txBody>
      </p:sp>
      <p:sp>
        <p:nvSpPr>
          <p:cNvPr id="32" name="Rectangle 42">
            <a:extLst>
              <a:ext uri="{FF2B5EF4-FFF2-40B4-BE49-F238E27FC236}">
                <a16:creationId xmlns:a16="http://schemas.microsoft.com/office/drawing/2014/main" id="{C7D92E3A-6FF2-DD4A-AE10-3D0349425C95}"/>
              </a:ext>
            </a:extLst>
          </p:cNvPr>
          <p:cNvSpPr/>
          <p:nvPr/>
        </p:nvSpPr>
        <p:spPr>
          <a:xfrm>
            <a:off x="9999201" y="4015408"/>
            <a:ext cx="839140" cy="300082"/>
          </a:xfrm>
          <a:prstGeom prst="rect">
            <a:avLst/>
          </a:prstGeom>
        </p:spPr>
        <p:txBody>
          <a:bodyPr wrap="square">
            <a:spAutoFit/>
          </a:bodyPr>
          <a:lstStyle/>
          <a:p>
            <a:pPr algn="ctr"/>
            <a:r>
              <a:rPr lang="en-US" sz="1350" b="1" dirty="0">
                <a:solidFill>
                  <a:srgbClr val="716E6F"/>
                </a:solidFill>
                <a:latin typeface="Corbel" charset="0"/>
                <a:ea typeface="Corbel" charset="0"/>
                <a:cs typeface="Corbel" charset="0"/>
              </a:rPr>
              <a:t>4m</a:t>
            </a:r>
          </a:p>
        </p:txBody>
      </p:sp>
      <p:cxnSp>
        <p:nvCxnSpPr>
          <p:cNvPr id="15" name="Straight Arrow Connector 14">
            <a:extLst>
              <a:ext uri="{FF2B5EF4-FFF2-40B4-BE49-F238E27FC236}">
                <a16:creationId xmlns:a16="http://schemas.microsoft.com/office/drawing/2014/main" id="{65949E07-684D-4E44-A1D3-7496E19E7091}"/>
              </a:ext>
            </a:extLst>
          </p:cNvPr>
          <p:cNvCxnSpPr>
            <a:cxnSpLocks/>
          </p:cNvCxnSpPr>
          <p:nvPr/>
        </p:nvCxnSpPr>
        <p:spPr>
          <a:xfrm>
            <a:off x="1107160" y="2419835"/>
            <a:ext cx="3543003" cy="0"/>
          </a:xfrm>
          <a:prstGeom prst="straightConnector1">
            <a:avLst/>
          </a:prstGeom>
          <a:ln w="38100">
            <a:solidFill>
              <a:srgbClr val="EA5D0A"/>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Rectangle 3">
            <a:extLst>
              <a:ext uri="{FF2B5EF4-FFF2-40B4-BE49-F238E27FC236}">
                <a16:creationId xmlns:a16="http://schemas.microsoft.com/office/drawing/2014/main" id="{D62B43A8-8931-8844-855E-4E9D4FD8BCA9}"/>
              </a:ext>
            </a:extLst>
          </p:cNvPr>
          <p:cNvSpPr/>
          <p:nvPr/>
        </p:nvSpPr>
        <p:spPr>
          <a:xfrm>
            <a:off x="1929644" y="2229401"/>
            <a:ext cx="1898035" cy="380869"/>
          </a:xfrm>
          <a:prstGeom prst="rect">
            <a:avLst/>
          </a:prstGeom>
          <a:solidFill>
            <a:schemeClr val="bg1"/>
          </a:solidFill>
        </p:spPr>
        <p:txBody>
          <a:bodyPr wrap="square" lIns="41144" tIns="20572" rIns="41144" bIns="20572">
            <a:spAutoFit/>
          </a:bodyPr>
          <a:lstStyle/>
          <a:p>
            <a:pPr algn="ctr"/>
            <a:r>
              <a:rPr lang="en-US" sz="2205" b="1" dirty="0">
                <a:solidFill>
                  <a:srgbClr val="E94A1A"/>
                </a:solidFill>
                <a:latin typeface="Helvetica Neue" charset="0"/>
                <a:ea typeface="Helvetica Neue" charset="0"/>
                <a:cs typeface="Helvetica Neue" charset="0"/>
              </a:rPr>
              <a:t>1a PARTE</a:t>
            </a:r>
            <a:endParaRPr lang="en-US" sz="2205" b="1" dirty="0">
              <a:solidFill>
                <a:srgbClr val="E34D20"/>
              </a:solidFill>
              <a:latin typeface="Helvetica Neue" charset="0"/>
              <a:ea typeface="Helvetica Neue" charset="0"/>
              <a:cs typeface="Helvetica Neue" charset="0"/>
            </a:endParaRPr>
          </a:p>
        </p:txBody>
      </p:sp>
      <p:cxnSp>
        <p:nvCxnSpPr>
          <p:cNvPr id="36" name="Straight Arrow Connector 35">
            <a:extLst>
              <a:ext uri="{FF2B5EF4-FFF2-40B4-BE49-F238E27FC236}">
                <a16:creationId xmlns:a16="http://schemas.microsoft.com/office/drawing/2014/main" id="{5546F99E-65CD-5145-B08E-C0F43EDE13CD}"/>
              </a:ext>
            </a:extLst>
          </p:cNvPr>
          <p:cNvCxnSpPr>
            <a:cxnSpLocks/>
          </p:cNvCxnSpPr>
          <p:nvPr/>
        </p:nvCxnSpPr>
        <p:spPr>
          <a:xfrm flipV="1">
            <a:off x="4662656" y="2419834"/>
            <a:ext cx="6362574" cy="1"/>
          </a:xfrm>
          <a:prstGeom prst="straightConnector1">
            <a:avLst/>
          </a:prstGeom>
          <a:ln w="38100">
            <a:solidFill>
              <a:srgbClr val="EA5D0A"/>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Rectangle 3">
            <a:extLst>
              <a:ext uri="{FF2B5EF4-FFF2-40B4-BE49-F238E27FC236}">
                <a16:creationId xmlns:a16="http://schemas.microsoft.com/office/drawing/2014/main" id="{2B5FCF40-DBA0-484D-9DEC-B36C1932590A}"/>
              </a:ext>
            </a:extLst>
          </p:cNvPr>
          <p:cNvSpPr/>
          <p:nvPr/>
        </p:nvSpPr>
        <p:spPr>
          <a:xfrm>
            <a:off x="6894926" y="2229400"/>
            <a:ext cx="1898035" cy="380869"/>
          </a:xfrm>
          <a:prstGeom prst="rect">
            <a:avLst/>
          </a:prstGeom>
          <a:solidFill>
            <a:schemeClr val="bg1"/>
          </a:solidFill>
        </p:spPr>
        <p:txBody>
          <a:bodyPr wrap="square" lIns="41144" tIns="20572" rIns="41144" bIns="20572">
            <a:spAutoFit/>
          </a:bodyPr>
          <a:lstStyle/>
          <a:p>
            <a:pPr algn="ctr"/>
            <a:r>
              <a:rPr lang="en-US" sz="2205" b="1" dirty="0">
                <a:solidFill>
                  <a:srgbClr val="E94A1A"/>
                </a:solidFill>
                <a:latin typeface="Helvetica Neue" charset="0"/>
                <a:ea typeface="Helvetica Neue" charset="0"/>
                <a:cs typeface="Helvetica Neue" charset="0"/>
              </a:rPr>
              <a:t>2a PARTE</a:t>
            </a:r>
            <a:endParaRPr lang="en-US" sz="2205" b="1" dirty="0">
              <a:solidFill>
                <a:srgbClr val="E34D20"/>
              </a:solidFill>
              <a:latin typeface="Helvetica Neue" charset="0"/>
              <a:ea typeface="Helvetica Neue" charset="0"/>
              <a:cs typeface="Helvetica Neue" charset="0"/>
            </a:endParaRPr>
          </a:p>
        </p:txBody>
      </p:sp>
      <p:sp>
        <p:nvSpPr>
          <p:cNvPr id="39" name="TextBox 38">
            <a:extLst>
              <a:ext uri="{FF2B5EF4-FFF2-40B4-BE49-F238E27FC236}">
                <a16:creationId xmlns:a16="http://schemas.microsoft.com/office/drawing/2014/main" id="{6B5FF296-D674-584E-B2C1-C656CD3639FC}"/>
              </a:ext>
            </a:extLst>
          </p:cNvPr>
          <p:cNvSpPr txBox="1"/>
          <p:nvPr/>
        </p:nvSpPr>
        <p:spPr>
          <a:xfrm>
            <a:off x="5952637" y="6211203"/>
            <a:ext cx="5680648" cy="369332"/>
          </a:xfrm>
          <a:prstGeom prst="rect">
            <a:avLst/>
          </a:prstGeom>
          <a:noFill/>
        </p:spPr>
        <p:txBody>
          <a:bodyPr wrap="square" rtlCol="0">
            <a:spAutoFit/>
          </a:bodyPr>
          <a:lstStyle/>
          <a:p>
            <a:pPr algn="r"/>
            <a:r>
              <a:rPr lang="es-ES" b="1" i="1" dirty="0"/>
              <a:t>… total de aproximadamente: de 2 a 7 años</a:t>
            </a:r>
          </a:p>
        </p:txBody>
      </p:sp>
    </p:spTree>
    <p:extLst>
      <p:ext uri="{BB962C8B-B14F-4D97-AF65-F5344CB8AC3E}">
        <p14:creationId xmlns:p14="http://schemas.microsoft.com/office/powerpoint/2010/main" val="298202283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5"/>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6"/>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4"/>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1"/>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32"/>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P spid="21" grpId="0"/>
      <p:bldP spid="22" grpId="0"/>
      <p:bldP spid="23" grpId="0"/>
      <p:bldP spid="24" grpId="0"/>
      <p:bldP spid="25" grpId="0"/>
      <p:bldP spid="29" grpId="0"/>
      <p:bldP spid="30" grpId="0"/>
      <p:bldP spid="31" grpId="0"/>
      <p:bldP spid="32" grpId="0"/>
      <p:bldP spid="3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Group 43">
            <a:extLst>
              <a:ext uri="{FF2B5EF4-FFF2-40B4-BE49-F238E27FC236}">
                <a16:creationId xmlns:a16="http://schemas.microsoft.com/office/drawing/2014/main" id="{3515FB82-E454-C64F-8DE3-EC4BBF8A122A}"/>
              </a:ext>
            </a:extLst>
          </p:cNvPr>
          <p:cNvGrpSpPr/>
          <p:nvPr/>
        </p:nvGrpSpPr>
        <p:grpSpPr>
          <a:xfrm>
            <a:off x="-955675" y="1199577"/>
            <a:ext cx="6286500" cy="4220220"/>
            <a:chOff x="-955675" y="1199577"/>
            <a:chExt cx="6286500" cy="4220220"/>
          </a:xfrm>
        </p:grpSpPr>
        <p:pic>
          <p:nvPicPr>
            <p:cNvPr id="45" name="Picture 44">
              <a:extLst>
                <a:ext uri="{FF2B5EF4-FFF2-40B4-BE49-F238E27FC236}">
                  <a16:creationId xmlns:a16="http://schemas.microsoft.com/office/drawing/2014/main" id="{2D589B22-A365-7D47-BFA6-E61F44BF061D}"/>
                </a:ext>
              </a:extLst>
            </p:cNvPr>
            <p:cNvPicPr>
              <a:picLocks noChangeAspect="1"/>
            </p:cNvPicPr>
            <p:nvPr/>
          </p:nvPicPr>
          <p:blipFill>
            <a:blip r:embed="rId3"/>
            <a:stretch>
              <a:fillRect/>
            </a:stretch>
          </p:blipFill>
          <p:spPr>
            <a:xfrm>
              <a:off x="-955675" y="1199577"/>
              <a:ext cx="6286500" cy="4220220"/>
            </a:xfrm>
            <a:prstGeom prst="rect">
              <a:avLst/>
            </a:prstGeom>
          </p:spPr>
        </p:pic>
        <p:grpSp>
          <p:nvGrpSpPr>
            <p:cNvPr id="46" name="Group 45">
              <a:extLst>
                <a:ext uri="{FF2B5EF4-FFF2-40B4-BE49-F238E27FC236}">
                  <a16:creationId xmlns:a16="http://schemas.microsoft.com/office/drawing/2014/main" id="{2311A9CE-AA30-A544-ABA8-60A276781EAB}"/>
                </a:ext>
              </a:extLst>
            </p:cNvPr>
            <p:cNvGrpSpPr/>
            <p:nvPr/>
          </p:nvGrpSpPr>
          <p:grpSpPr>
            <a:xfrm>
              <a:off x="389746" y="1414911"/>
              <a:ext cx="4743450" cy="3981220"/>
              <a:chOff x="389746" y="1414911"/>
              <a:chExt cx="4743450" cy="3981220"/>
            </a:xfrm>
          </p:grpSpPr>
          <p:sp>
            <p:nvSpPr>
              <p:cNvPr id="47" name="TextBox 46">
                <a:extLst>
                  <a:ext uri="{FF2B5EF4-FFF2-40B4-BE49-F238E27FC236}">
                    <a16:creationId xmlns:a16="http://schemas.microsoft.com/office/drawing/2014/main" id="{6EC77BE4-DACE-D64F-A9A1-7DD56F163964}"/>
                  </a:ext>
                </a:extLst>
              </p:cNvPr>
              <p:cNvSpPr txBox="1"/>
              <p:nvPr/>
            </p:nvSpPr>
            <p:spPr>
              <a:xfrm>
                <a:off x="1473200" y="4749800"/>
                <a:ext cx="1600200" cy="646331"/>
              </a:xfrm>
              <a:prstGeom prst="rect">
                <a:avLst/>
              </a:prstGeom>
              <a:solidFill>
                <a:schemeClr val="bg1"/>
              </a:solidFill>
            </p:spPr>
            <p:txBody>
              <a:bodyPr wrap="square" rtlCol="0">
                <a:spAutoFit/>
              </a:bodyPr>
              <a:lstStyle/>
              <a:p>
                <a:pPr algn="ctr"/>
                <a:r>
                  <a:rPr lang="es-ES" b="1" dirty="0"/>
                  <a:t>Equipo de Oncología</a:t>
                </a:r>
              </a:p>
            </p:txBody>
          </p:sp>
          <p:sp>
            <p:nvSpPr>
              <p:cNvPr id="48" name="TextBox 47">
                <a:extLst>
                  <a:ext uri="{FF2B5EF4-FFF2-40B4-BE49-F238E27FC236}">
                    <a16:creationId xmlns:a16="http://schemas.microsoft.com/office/drawing/2014/main" id="{79C5784F-A458-6C48-B21D-D05D5988F376}"/>
                  </a:ext>
                </a:extLst>
              </p:cNvPr>
              <p:cNvSpPr txBox="1"/>
              <p:nvPr/>
            </p:nvSpPr>
            <p:spPr>
              <a:xfrm>
                <a:off x="389746" y="2930610"/>
                <a:ext cx="1600200" cy="646331"/>
              </a:xfrm>
              <a:prstGeom prst="rect">
                <a:avLst/>
              </a:prstGeom>
              <a:solidFill>
                <a:schemeClr val="bg1"/>
              </a:solidFill>
            </p:spPr>
            <p:txBody>
              <a:bodyPr wrap="square" rtlCol="0">
                <a:spAutoFit/>
              </a:bodyPr>
              <a:lstStyle/>
              <a:p>
                <a:pPr algn="ctr"/>
                <a:r>
                  <a:rPr lang="es-ES" b="1" dirty="0" err="1"/>
                  <a:t>Eq</a:t>
                </a:r>
                <a:r>
                  <a:rPr lang="es-ES" b="1" dirty="0"/>
                  <a:t>. de </a:t>
                </a:r>
                <a:r>
                  <a:rPr lang="es-ES" b="1" dirty="0" err="1"/>
                  <a:t>Radiólogía</a:t>
                </a:r>
                <a:endParaRPr lang="es-ES" b="1" dirty="0"/>
              </a:p>
            </p:txBody>
          </p:sp>
          <p:sp>
            <p:nvSpPr>
              <p:cNvPr id="49" name="TextBox 48">
                <a:extLst>
                  <a:ext uri="{FF2B5EF4-FFF2-40B4-BE49-F238E27FC236}">
                    <a16:creationId xmlns:a16="http://schemas.microsoft.com/office/drawing/2014/main" id="{4429386E-904D-0641-A289-27D5E841DE11}"/>
                  </a:ext>
                </a:extLst>
              </p:cNvPr>
              <p:cNvSpPr txBox="1"/>
              <p:nvPr/>
            </p:nvSpPr>
            <p:spPr>
              <a:xfrm>
                <a:off x="2624946" y="3657087"/>
                <a:ext cx="1600200" cy="646331"/>
              </a:xfrm>
              <a:prstGeom prst="rect">
                <a:avLst/>
              </a:prstGeom>
              <a:solidFill>
                <a:schemeClr val="bg1"/>
              </a:solidFill>
            </p:spPr>
            <p:txBody>
              <a:bodyPr wrap="square" rtlCol="0">
                <a:spAutoFit/>
              </a:bodyPr>
              <a:lstStyle/>
              <a:p>
                <a:pPr algn="ctr"/>
                <a:r>
                  <a:rPr lang="es-ES" b="1" dirty="0"/>
                  <a:t>Anatomía-Patológica</a:t>
                </a:r>
              </a:p>
            </p:txBody>
          </p:sp>
          <p:sp>
            <p:nvSpPr>
              <p:cNvPr id="50" name="TextBox 49">
                <a:extLst>
                  <a:ext uri="{FF2B5EF4-FFF2-40B4-BE49-F238E27FC236}">
                    <a16:creationId xmlns:a16="http://schemas.microsoft.com/office/drawing/2014/main" id="{500BDF08-670C-3F4E-A724-8B7540DAE681}"/>
                  </a:ext>
                </a:extLst>
              </p:cNvPr>
              <p:cNvSpPr txBox="1"/>
              <p:nvPr/>
            </p:nvSpPr>
            <p:spPr>
              <a:xfrm>
                <a:off x="3532996" y="2799819"/>
                <a:ext cx="1600200" cy="646331"/>
              </a:xfrm>
              <a:prstGeom prst="rect">
                <a:avLst/>
              </a:prstGeom>
              <a:solidFill>
                <a:schemeClr val="bg1"/>
              </a:solidFill>
            </p:spPr>
            <p:txBody>
              <a:bodyPr wrap="square" rtlCol="0">
                <a:spAutoFit/>
              </a:bodyPr>
              <a:lstStyle/>
              <a:p>
                <a:pPr algn="ctr"/>
                <a:r>
                  <a:rPr lang="es-ES" b="1" dirty="0" err="1"/>
                  <a:t>Eq</a:t>
                </a:r>
                <a:r>
                  <a:rPr lang="es-ES" b="1" dirty="0"/>
                  <a:t>. de Enfermería</a:t>
                </a:r>
              </a:p>
            </p:txBody>
          </p:sp>
          <p:sp>
            <p:nvSpPr>
              <p:cNvPr id="51" name="TextBox 50">
                <a:extLst>
                  <a:ext uri="{FF2B5EF4-FFF2-40B4-BE49-F238E27FC236}">
                    <a16:creationId xmlns:a16="http://schemas.microsoft.com/office/drawing/2014/main" id="{6CD66A2D-E049-B74B-8A6A-7AB51D43F1EE}"/>
                  </a:ext>
                </a:extLst>
              </p:cNvPr>
              <p:cNvSpPr txBox="1"/>
              <p:nvPr/>
            </p:nvSpPr>
            <p:spPr>
              <a:xfrm>
                <a:off x="389746" y="1863368"/>
                <a:ext cx="1797829" cy="369332"/>
              </a:xfrm>
              <a:prstGeom prst="rect">
                <a:avLst/>
              </a:prstGeom>
              <a:solidFill>
                <a:schemeClr val="bg1"/>
              </a:solidFill>
            </p:spPr>
            <p:txBody>
              <a:bodyPr wrap="square" rtlCol="0">
                <a:spAutoFit/>
              </a:bodyPr>
              <a:lstStyle/>
              <a:p>
                <a:pPr algn="ctr"/>
                <a:r>
                  <a:rPr lang="es-ES" b="1" dirty="0"/>
                  <a:t>Farmacia</a:t>
                </a:r>
              </a:p>
            </p:txBody>
          </p:sp>
          <p:sp>
            <p:nvSpPr>
              <p:cNvPr id="52" name="TextBox 51">
                <a:extLst>
                  <a:ext uri="{FF2B5EF4-FFF2-40B4-BE49-F238E27FC236}">
                    <a16:creationId xmlns:a16="http://schemas.microsoft.com/office/drawing/2014/main" id="{F3ACF11A-5E2A-7444-BE4F-13687D967C50}"/>
                  </a:ext>
                </a:extLst>
              </p:cNvPr>
              <p:cNvSpPr txBox="1"/>
              <p:nvPr/>
            </p:nvSpPr>
            <p:spPr>
              <a:xfrm>
                <a:off x="2130425" y="2171716"/>
                <a:ext cx="1600200" cy="646331"/>
              </a:xfrm>
              <a:prstGeom prst="rect">
                <a:avLst/>
              </a:prstGeom>
              <a:solidFill>
                <a:schemeClr val="bg1"/>
              </a:solidFill>
            </p:spPr>
            <p:txBody>
              <a:bodyPr wrap="square" rtlCol="0">
                <a:spAutoFit/>
              </a:bodyPr>
              <a:lstStyle/>
              <a:p>
                <a:pPr algn="ctr"/>
                <a:r>
                  <a:rPr lang="es-ES" b="1" dirty="0" err="1"/>
                  <a:t>Asoc</a:t>
                </a:r>
                <a:r>
                  <a:rPr lang="es-ES" b="1" dirty="0"/>
                  <a:t> de Pacientes</a:t>
                </a:r>
              </a:p>
            </p:txBody>
          </p:sp>
          <p:sp>
            <p:nvSpPr>
              <p:cNvPr id="53" name="TextBox 52">
                <a:extLst>
                  <a:ext uri="{FF2B5EF4-FFF2-40B4-BE49-F238E27FC236}">
                    <a16:creationId xmlns:a16="http://schemas.microsoft.com/office/drawing/2014/main" id="{B2EBD878-FF84-5643-91F0-92416ED88CC6}"/>
                  </a:ext>
                </a:extLst>
              </p:cNvPr>
              <p:cNvSpPr txBox="1"/>
              <p:nvPr/>
            </p:nvSpPr>
            <p:spPr>
              <a:xfrm>
                <a:off x="3425046" y="1414911"/>
                <a:ext cx="1600200" cy="369332"/>
              </a:xfrm>
              <a:prstGeom prst="rect">
                <a:avLst/>
              </a:prstGeom>
              <a:solidFill>
                <a:schemeClr val="bg1"/>
              </a:solidFill>
            </p:spPr>
            <p:txBody>
              <a:bodyPr wrap="square" rtlCol="0">
                <a:spAutoFit/>
              </a:bodyPr>
              <a:lstStyle/>
              <a:p>
                <a:pPr algn="ctr"/>
                <a:r>
                  <a:rPr lang="es-ES" b="1" dirty="0" err="1"/>
                  <a:t>Etc</a:t>
                </a:r>
                <a:r>
                  <a:rPr lang="es-ES" b="1" dirty="0"/>
                  <a:t>, etc...</a:t>
                </a:r>
              </a:p>
            </p:txBody>
          </p:sp>
        </p:grpSp>
      </p:grpSp>
      <p:sp>
        <p:nvSpPr>
          <p:cNvPr id="11" name="AutoShape 11">
            <a:extLst>
              <a:ext uri="{FF2B5EF4-FFF2-40B4-BE49-F238E27FC236}">
                <a16:creationId xmlns:a16="http://schemas.microsoft.com/office/drawing/2014/main" id="{D2723E13-0EE9-4F46-B938-14942DCF56B4}"/>
              </a:ext>
            </a:extLst>
          </p:cNvPr>
          <p:cNvSpPr>
            <a:spLocks noChangeArrowheads="1"/>
          </p:cNvSpPr>
          <p:nvPr/>
        </p:nvSpPr>
        <p:spPr bwMode="auto">
          <a:xfrm>
            <a:off x="2300650" y="4919609"/>
            <a:ext cx="8532033" cy="644056"/>
          </a:xfrm>
          <a:prstGeom prst="roundRect">
            <a:avLst>
              <a:gd name="adj" fmla="val 4868"/>
            </a:avLst>
          </a:prstGeom>
          <a:solidFill>
            <a:schemeClr val="bg1"/>
          </a:solidFill>
          <a:ln w="38100" cmpd="sng">
            <a:solidFill>
              <a:srgbClr val="FF6600"/>
            </a:solidFill>
            <a:round/>
            <a:headEnd type="none" w="sm" len="sm"/>
            <a:tailEnd type="none" w="sm" len="sm"/>
          </a:ln>
        </p:spPr>
        <p:txBody>
          <a:bodyPr wrap="square" tIns="18000" bIns="18000" anchor="ctr">
            <a:noAutofit/>
          </a:bodyPr>
          <a:lstStyle/>
          <a:p>
            <a:pPr lvl="0" algn="ctr"/>
            <a:r>
              <a:rPr lang="en-US" b="1" u="sng" dirty="0">
                <a:solidFill>
                  <a:schemeClr val="bg2"/>
                </a:solidFill>
              </a:rPr>
              <a:t>Primary Endpoint</a:t>
            </a:r>
            <a:r>
              <a:rPr lang="en-US" b="1" dirty="0">
                <a:solidFill>
                  <a:schemeClr val="bg2"/>
                </a:solidFill>
              </a:rPr>
              <a:t>: </a:t>
            </a:r>
            <a:r>
              <a:rPr lang="es-ES" b="1" dirty="0">
                <a:solidFill>
                  <a:schemeClr val="bg2"/>
                </a:solidFill>
                <a:cs typeface="Calibri"/>
              </a:rPr>
              <a:t>Median PFS</a:t>
            </a:r>
            <a:r>
              <a:rPr lang="en-US" b="1" dirty="0">
                <a:solidFill>
                  <a:schemeClr val="bg2"/>
                </a:solidFill>
                <a:cs typeface="Calibri"/>
              </a:rPr>
              <a:t> for the whole population (cohorts 1 + 2)</a:t>
            </a:r>
          </a:p>
        </p:txBody>
      </p:sp>
      <p:sp>
        <p:nvSpPr>
          <p:cNvPr id="12" name="AutoShape 11">
            <a:extLst>
              <a:ext uri="{FF2B5EF4-FFF2-40B4-BE49-F238E27FC236}">
                <a16:creationId xmlns:a16="http://schemas.microsoft.com/office/drawing/2014/main" id="{07111CDC-09A0-4882-A85F-5D4F7B16315B}"/>
              </a:ext>
            </a:extLst>
          </p:cNvPr>
          <p:cNvSpPr>
            <a:spLocks noChangeArrowheads="1"/>
          </p:cNvSpPr>
          <p:nvPr/>
        </p:nvSpPr>
        <p:spPr bwMode="auto">
          <a:xfrm>
            <a:off x="7900804" y="2212512"/>
            <a:ext cx="2149508" cy="715107"/>
          </a:xfrm>
          <a:prstGeom prst="roundRect">
            <a:avLst>
              <a:gd name="adj" fmla="val 4868"/>
            </a:avLst>
          </a:prstGeom>
          <a:solidFill>
            <a:schemeClr val="accent3">
              <a:lumMod val="40000"/>
              <a:lumOff val="60000"/>
            </a:schemeClr>
          </a:solidFill>
          <a:ln w="38100" cmpd="sng">
            <a:solidFill>
              <a:srgbClr val="EA5D0A"/>
            </a:solidFill>
            <a:round/>
            <a:headEnd type="none" w="sm" len="sm"/>
            <a:tailEnd type="none" w="sm" len="sm"/>
          </a:ln>
        </p:spPr>
        <p:txBody>
          <a:bodyPr wrap="square" tIns="18000" bIns="18000" anchor="ctr">
            <a:noAutofit/>
          </a:bodyPr>
          <a:lstStyle/>
          <a:p>
            <a:pPr algn="ctr"/>
            <a:r>
              <a:rPr lang="en-US" sz="1600" b="1" dirty="0" err="1">
                <a:solidFill>
                  <a:schemeClr val="bg2"/>
                </a:solidFill>
                <a:latin typeface="+mj-lt"/>
              </a:rPr>
              <a:t>Inh</a:t>
            </a:r>
            <a:r>
              <a:rPr lang="en-US" sz="1600" b="1" dirty="0">
                <a:solidFill>
                  <a:schemeClr val="bg2"/>
                </a:solidFill>
                <a:latin typeface="+mj-lt"/>
              </a:rPr>
              <a:t> CDK + </a:t>
            </a:r>
          </a:p>
          <a:p>
            <a:pPr algn="ctr"/>
            <a:r>
              <a:rPr lang="en-US" sz="1600" b="1" dirty="0">
                <a:solidFill>
                  <a:schemeClr val="bg2"/>
                </a:solidFill>
                <a:latin typeface="+mj-lt"/>
              </a:rPr>
              <a:t>LETROZOLE</a:t>
            </a:r>
          </a:p>
        </p:txBody>
      </p:sp>
      <p:sp>
        <p:nvSpPr>
          <p:cNvPr id="16" name="AutoShape 11">
            <a:extLst>
              <a:ext uri="{FF2B5EF4-FFF2-40B4-BE49-F238E27FC236}">
                <a16:creationId xmlns:a16="http://schemas.microsoft.com/office/drawing/2014/main" id="{909EEF8A-C609-4808-81D8-8C51F02B7770}"/>
              </a:ext>
            </a:extLst>
          </p:cNvPr>
          <p:cNvSpPr>
            <a:spLocks noChangeArrowheads="1"/>
          </p:cNvSpPr>
          <p:nvPr/>
        </p:nvSpPr>
        <p:spPr bwMode="auto">
          <a:xfrm>
            <a:off x="7884856" y="3703663"/>
            <a:ext cx="2181404" cy="715107"/>
          </a:xfrm>
          <a:prstGeom prst="roundRect">
            <a:avLst>
              <a:gd name="adj" fmla="val 4868"/>
            </a:avLst>
          </a:prstGeom>
          <a:solidFill>
            <a:schemeClr val="accent6">
              <a:lumMod val="60000"/>
              <a:lumOff val="40000"/>
            </a:schemeClr>
          </a:solidFill>
          <a:ln w="38100" cmpd="sng">
            <a:solidFill>
              <a:srgbClr val="EA5D0A"/>
            </a:solidFill>
            <a:round/>
            <a:headEnd type="none" w="sm" len="sm"/>
            <a:tailEnd type="none" w="sm" len="sm"/>
          </a:ln>
        </p:spPr>
        <p:txBody>
          <a:bodyPr wrap="square" tIns="18000" bIns="18000" anchor="ctr">
            <a:noAutofit/>
          </a:bodyPr>
          <a:lstStyle/>
          <a:p>
            <a:pPr algn="ctr"/>
            <a:r>
              <a:rPr lang="en-US" sz="1600" b="1" dirty="0" err="1">
                <a:solidFill>
                  <a:schemeClr val="bg2"/>
                </a:solidFill>
                <a:latin typeface="+mj-lt"/>
              </a:rPr>
              <a:t>Inh</a:t>
            </a:r>
            <a:r>
              <a:rPr lang="en-US" sz="1600" b="1" dirty="0">
                <a:solidFill>
                  <a:schemeClr val="bg2"/>
                </a:solidFill>
                <a:latin typeface="+mj-lt"/>
              </a:rPr>
              <a:t> CDK + FULVESTRANT</a:t>
            </a:r>
          </a:p>
        </p:txBody>
      </p:sp>
      <p:cxnSp>
        <p:nvCxnSpPr>
          <p:cNvPr id="19" name="Straight Arrow Connector 18">
            <a:extLst>
              <a:ext uri="{FF2B5EF4-FFF2-40B4-BE49-F238E27FC236}">
                <a16:creationId xmlns:a16="http://schemas.microsoft.com/office/drawing/2014/main" id="{C0B25B85-8C1A-4290-B7DF-8D9BE4174E14}"/>
              </a:ext>
            </a:extLst>
          </p:cNvPr>
          <p:cNvCxnSpPr>
            <a:cxnSpLocks/>
            <a:endCxn id="25" idx="1"/>
          </p:cNvCxnSpPr>
          <p:nvPr/>
        </p:nvCxnSpPr>
        <p:spPr>
          <a:xfrm>
            <a:off x="7323054" y="2570065"/>
            <a:ext cx="513958" cy="0"/>
          </a:xfrm>
          <a:prstGeom prst="straightConnector1">
            <a:avLst/>
          </a:prstGeom>
          <a:ln>
            <a:solidFill>
              <a:schemeClr val="tx1">
                <a:lumMod val="75000"/>
                <a:lumOff val="2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10A02C80-B41F-47FC-A895-5D96E76C658A}"/>
              </a:ext>
            </a:extLst>
          </p:cNvPr>
          <p:cNvCxnSpPr>
            <a:cxnSpLocks/>
          </p:cNvCxnSpPr>
          <p:nvPr/>
        </p:nvCxnSpPr>
        <p:spPr>
          <a:xfrm>
            <a:off x="7269890" y="4067081"/>
            <a:ext cx="561787" cy="0"/>
          </a:xfrm>
          <a:prstGeom prst="straightConnector1">
            <a:avLst/>
          </a:prstGeom>
          <a:ln>
            <a:solidFill>
              <a:schemeClr val="tx1">
                <a:lumMod val="75000"/>
                <a:lumOff val="2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ECA73E88-2537-4736-A9A3-9068FEFB8708}"/>
              </a:ext>
            </a:extLst>
          </p:cNvPr>
          <p:cNvCxnSpPr>
            <a:cxnSpLocks/>
          </p:cNvCxnSpPr>
          <p:nvPr/>
        </p:nvCxnSpPr>
        <p:spPr>
          <a:xfrm>
            <a:off x="10151370" y="2570065"/>
            <a:ext cx="326166" cy="0"/>
          </a:xfrm>
          <a:prstGeom prst="straightConnector1">
            <a:avLst/>
          </a:prstGeom>
          <a:ln>
            <a:solidFill>
              <a:schemeClr val="tx1">
                <a:lumMod val="75000"/>
                <a:lumOff val="2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9C7EAF81-5C3F-4E07-99C8-B89082EC3D8F}"/>
              </a:ext>
            </a:extLst>
          </p:cNvPr>
          <p:cNvCxnSpPr>
            <a:cxnSpLocks/>
            <a:stCxn id="26" idx="3"/>
          </p:cNvCxnSpPr>
          <p:nvPr/>
        </p:nvCxnSpPr>
        <p:spPr>
          <a:xfrm>
            <a:off x="10124790" y="4061210"/>
            <a:ext cx="348241" cy="0"/>
          </a:xfrm>
          <a:prstGeom prst="straightConnector1">
            <a:avLst/>
          </a:prstGeom>
          <a:ln>
            <a:solidFill>
              <a:schemeClr val="tx1">
                <a:lumMod val="75000"/>
                <a:lumOff val="25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25" name="AutoShape 11">
            <a:extLst>
              <a:ext uri="{FF2B5EF4-FFF2-40B4-BE49-F238E27FC236}">
                <a16:creationId xmlns:a16="http://schemas.microsoft.com/office/drawing/2014/main" id="{B745FD1C-2130-477F-B648-2A25F2612C68}"/>
              </a:ext>
            </a:extLst>
          </p:cNvPr>
          <p:cNvSpPr>
            <a:spLocks noChangeArrowheads="1"/>
          </p:cNvSpPr>
          <p:nvPr/>
        </p:nvSpPr>
        <p:spPr bwMode="auto">
          <a:xfrm>
            <a:off x="7837012" y="2142168"/>
            <a:ext cx="2314358" cy="855794"/>
          </a:xfrm>
          <a:prstGeom prst="roundRect">
            <a:avLst>
              <a:gd name="adj" fmla="val 4868"/>
            </a:avLst>
          </a:prstGeom>
          <a:noFill/>
          <a:ln w="38100" cmpd="sng">
            <a:solidFill>
              <a:schemeClr val="accent6">
                <a:lumMod val="75000"/>
              </a:schemeClr>
            </a:solidFill>
            <a:round/>
            <a:headEnd type="none" w="sm" len="sm"/>
            <a:tailEnd type="none" w="sm" len="sm"/>
          </a:ln>
        </p:spPr>
        <p:txBody>
          <a:bodyPr wrap="square" tIns="18000" bIns="18000" anchor="ctr">
            <a:noAutofit/>
          </a:bodyPr>
          <a:lstStyle/>
          <a:p>
            <a:pPr algn="ctr"/>
            <a:endParaRPr lang="en-US" sz="1400" b="1" dirty="0">
              <a:solidFill>
                <a:schemeClr val="bg2"/>
              </a:solidFill>
              <a:latin typeface="+mj-lt"/>
            </a:endParaRPr>
          </a:p>
        </p:txBody>
      </p:sp>
      <p:sp>
        <p:nvSpPr>
          <p:cNvPr id="26" name="AutoShape 11">
            <a:extLst>
              <a:ext uri="{FF2B5EF4-FFF2-40B4-BE49-F238E27FC236}">
                <a16:creationId xmlns:a16="http://schemas.microsoft.com/office/drawing/2014/main" id="{65AF139F-D818-4AAF-88E5-12A27972672F}"/>
              </a:ext>
            </a:extLst>
          </p:cNvPr>
          <p:cNvSpPr>
            <a:spLocks noChangeArrowheads="1"/>
          </p:cNvSpPr>
          <p:nvPr/>
        </p:nvSpPr>
        <p:spPr bwMode="auto">
          <a:xfrm>
            <a:off x="7831677" y="3633313"/>
            <a:ext cx="2293113" cy="855794"/>
          </a:xfrm>
          <a:prstGeom prst="roundRect">
            <a:avLst>
              <a:gd name="adj" fmla="val 4868"/>
            </a:avLst>
          </a:prstGeom>
          <a:noFill/>
          <a:ln w="38100" cmpd="sng">
            <a:solidFill>
              <a:schemeClr val="accent6">
                <a:lumMod val="75000"/>
              </a:schemeClr>
            </a:solidFill>
            <a:round/>
            <a:headEnd type="none" w="sm" len="sm"/>
            <a:tailEnd type="none" w="sm" len="sm"/>
          </a:ln>
        </p:spPr>
        <p:txBody>
          <a:bodyPr wrap="square" tIns="18000" bIns="18000" anchor="ctr">
            <a:noAutofit/>
          </a:bodyPr>
          <a:lstStyle/>
          <a:p>
            <a:pPr algn="ctr"/>
            <a:endParaRPr lang="en-US" sz="1400" b="1" dirty="0">
              <a:solidFill>
                <a:schemeClr val="bg2"/>
              </a:solidFill>
              <a:latin typeface="+mj-lt"/>
            </a:endParaRPr>
          </a:p>
        </p:txBody>
      </p:sp>
      <p:sp>
        <p:nvSpPr>
          <p:cNvPr id="28" name="Título 1">
            <a:extLst>
              <a:ext uri="{FF2B5EF4-FFF2-40B4-BE49-F238E27FC236}">
                <a16:creationId xmlns:a16="http://schemas.microsoft.com/office/drawing/2014/main" id="{96B069B6-C877-4754-93F3-AEDD885717D4}"/>
              </a:ext>
            </a:extLst>
          </p:cNvPr>
          <p:cNvSpPr txBox="1">
            <a:spLocks/>
          </p:cNvSpPr>
          <p:nvPr/>
        </p:nvSpPr>
        <p:spPr>
          <a:xfrm>
            <a:off x="27348" y="12488"/>
            <a:ext cx="11654900" cy="954220"/>
          </a:xfrm>
          <a:prstGeom prst="rect">
            <a:avLst/>
          </a:prstGeom>
        </p:spPr>
        <p:txBody>
          <a:bodyPr vert="horz" lIns="91440" tIns="45720" rIns="91440" bIns="45720" rtlCol="0" anchor="ctr">
            <a:normAutofit fontScale="97500"/>
          </a:bodyPr>
          <a:lstStyle>
            <a:lvl1pPr algn="l" defTabSz="457200" rtl="0" eaLnBrk="1" latinLnBrk="0" hangingPunct="1">
              <a:lnSpc>
                <a:spcPct val="100000"/>
              </a:lnSpc>
              <a:spcBef>
                <a:spcPct val="0"/>
              </a:spcBef>
              <a:buNone/>
              <a:defRPr sz="2500" b="1" i="0" kern="1200">
                <a:solidFill>
                  <a:schemeClr val="tx1">
                    <a:lumMod val="75000"/>
                    <a:lumOff val="25000"/>
                  </a:schemeClr>
                </a:solidFill>
                <a:latin typeface="+mn-lt"/>
                <a:ea typeface="+mj-ea"/>
                <a:cs typeface="Oswald Bold"/>
              </a:defRPr>
            </a:lvl1pPr>
          </a:lstStyle>
          <a:p>
            <a:r>
              <a:rPr lang="en-US" sz="2400" dirty="0" err="1">
                <a:solidFill>
                  <a:srgbClr val="EA5D0A"/>
                </a:solidFill>
              </a:rPr>
              <a:t>Inhibidor</a:t>
            </a:r>
            <a:r>
              <a:rPr lang="en-US" sz="2400" dirty="0">
                <a:solidFill>
                  <a:srgbClr val="EA5D0A"/>
                </a:solidFill>
              </a:rPr>
              <a:t> CDK+ </a:t>
            </a:r>
            <a:r>
              <a:rPr lang="en-US" sz="2400" dirty="0" err="1">
                <a:solidFill>
                  <a:srgbClr val="EA5D0A"/>
                </a:solidFill>
              </a:rPr>
              <a:t>terapia</a:t>
            </a:r>
            <a:r>
              <a:rPr lang="en-US" sz="2400" dirty="0">
                <a:solidFill>
                  <a:srgbClr val="EA5D0A"/>
                </a:solidFill>
              </a:rPr>
              <a:t> hormonal </a:t>
            </a:r>
            <a:r>
              <a:rPr lang="en-US" sz="2400" dirty="0" err="1">
                <a:solidFill>
                  <a:srgbClr val="EA5D0A"/>
                </a:solidFill>
              </a:rPr>
              <a:t>en</a:t>
            </a:r>
            <a:r>
              <a:rPr lang="en-US" sz="2400" dirty="0">
                <a:solidFill>
                  <a:srgbClr val="EA5D0A"/>
                </a:solidFill>
              </a:rPr>
              <a:t> </a:t>
            </a:r>
            <a:r>
              <a:rPr lang="en-US" sz="2400" dirty="0" err="1">
                <a:solidFill>
                  <a:srgbClr val="EA5D0A"/>
                </a:solidFill>
              </a:rPr>
              <a:t>pacientes</a:t>
            </a:r>
            <a:r>
              <a:rPr lang="en-US" sz="2400" dirty="0">
                <a:solidFill>
                  <a:srgbClr val="EA5D0A"/>
                </a:solidFill>
              </a:rPr>
              <a:t> con ER+/HER2- y metastasis </a:t>
            </a:r>
            <a:r>
              <a:rPr lang="en-US" sz="2400" dirty="0" err="1">
                <a:solidFill>
                  <a:srgbClr val="EA5D0A"/>
                </a:solidFill>
              </a:rPr>
              <a:t>hepáticas</a:t>
            </a:r>
            <a:endParaRPr lang="en-US" sz="2400" dirty="0">
              <a:solidFill>
                <a:srgbClr val="EA5D0A"/>
              </a:solidFill>
            </a:endParaRPr>
          </a:p>
        </p:txBody>
      </p:sp>
      <p:sp>
        <p:nvSpPr>
          <p:cNvPr id="30" name="AutoShape 11">
            <a:extLst>
              <a:ext uri="{FF2B5EF4-FFF2-40B4-BE49-F238E27FC236}">
                <a16:creationId xmlns:a16="http://schemas.microsoft.com/office/drawing/2014/main" id="{57611020-67A6-4AE1-BD1B-444FCA65F020}"/>
              </a:ext>
            </a:extLst>
          </p:cNvPr>
          <p:cNvSpPr>
            <a:spLocks noChangeArrowheads="1"/>
          </p:cNvSpPr>
          <p:nvPr/>
        </p:nvSpPr>
        <p:spPr bwMode="auto">
          <a:xfrm>
            <a:off x="10515839" y="1703392"/>
            <a:ext cx="649027" cy="2817744"/>
          </a:xfrm>
          <a:prstGeom prst="roundRect">
            <a:avLst>
              <a:gd name="adj" fmla="val 4868"/>
            </a:avLst>
          </a:prstGeom>
          <a:noFill/>
          <a:ln w="38100" cmpd="sng">
            <a:solidFill>
              <a:schemeClr val="accent6">
                <a:lumMod val="75000"/>
              </a:schemeClr>
            </a:solidFill>
            <a:round/>
            <a:headEnd type="none" w="sm" len="sm"/>
            <a:tailEnd type="none" w="sm" len="sm"/>
          </a:ln>
        </p:spPr>
        <p:txBody>
          <a:bodyPr wrap="square" tIns="18000" bIns="18000" anchor="ctr">
            <a:noAutofit/>
          </a:bodyPr>
          <a:lstStyle/>
          <a:p>
            <a:pPr algn="ctr"/>
            <a:endParaRPr lang="en-US" sz="1400" b="1" dirty="0">
              <a:solidFill>
                <a:schemeClr val="bg2"/>
              </a:solidFill>
              <a:latin typeface="+mj-lt"/>
            </a:endParaRPr>
          </a:p>
        </p:txBody>
      </p:sp>
      <p:sp>
        <p:nvSpPr>
          <p:cNvPr id="10" name="TextBox 9">
            <a:extLst>
              <a:ext uri="{FF2B5EF4-FFF2-40B4-BE49-F238E27FC236}">
                <a16:creationId xmlns:a16="http://schemas.microsoft.com/office/drawing/2014/main" id="{2B392D28-0E57-4617-85C2-5340577F8207}"/>
              </a:ext>
            </a:extLst>
          </p:cNvPr>
          <p:cNvSpPr txBox="1"/>
          <p:nvPr/>
        </p:nvSpPr>
        <p:spPr>
          <a:xfrm rot="16200000">
            <a:off x="9559099" y="2877486"/>
            <a:ext cx="2577921" cy="461665"/>
          </a:xfrm>
          <a:prstGeom prst="rect">
            <a:avLst/>
          </a:prstGeom>
          <a:noFill/>
        </p:spPr>
        <p:txBody>
          <a:bodyPr wrap="square" rtlCol="0">
            <a:spAutoFit/>
          </a:bodyPr>
          <a:lstStyle/>
          <a:p>
            <a:pPr algn="ctr"/>
            <a:r>
              <a:rPr lang="es-ES" sz="2400" b="1" dirty="0">
                <a:solidFill>
                  <a:schemeClr val="bg2"/>
                </a:solidFill>
              </a:rPr>
              <a:t>PD</a:t>
            </a:r>
            <a:endParaRPr lang="en-US" sz="2400" b="1" dirty="0">
              <a:solidFill>
                <a:schemeClr val="bg2"/>
              </a:solidFill>
            </a:endParaRPr>
          </a:p>
        </p:txBody>
      </p:sp>
      <p:sp>
        <p:nvSpPr>
          <p:cNvPr id="29" name="AutoShape 11">
            <a:extLst>
              <a:ext uri="{FF2B5EF4-FFF2-40B4-BE49-F238E27FC236}">
                <a16:creationId xmlns:a16="http://schemas.microsoft.com/office/drawing/2014/main" id="{AE9FA3B6-33C3-4267-94E2-ADD651EAFE71}"/>
              </a:ext>
            </a:extLst>
          </p:cNvPr>
          <p:cNvSpPr>
            <a:spLocks noChangeArrowheads="1"/>
          </p:cNvSpPr>
          <p:nvPr/>
        </p:nvSpPr>
        <p:spPr bwMode="auto">
          <a:xfrm>
            <a:off x="1166641" y="1703393"/>
            <a:ext cx="3619228" cy="2913159"/>
          </a:xfrm>
          <a:prstGeom prst="roundRect">
            <a:avLst>
              <a:gd name="adj" fmla="val 4868"/>
            </a:avLst>
          </a:prstGeom>
          <a:solidFill>
            <a:schemeClr val="accent6">
              <a:lumMod val="60000"/>
              <a:lumOff val="40000"/>
            </a:schemeClr>
          </a:solidFill>
          <a:ln w="38100" cmpd="sng">
            <a:solidFill>
              <a:srgbClr val="EA5D0A"/>
            </a:solidFill>
            <a:round/>
            <a:headEnd type="none" w="sm" len="sm"/>
            <a:tailEnd type="none" w="sm" len="sm"/>
          </a:ln>
        </p:spPr>
        <p:txBody>
          <a:bodyPr wrap="square" tIns="18000" bIns="18000" anchor="ctr">
            <a:noAutofit/>
          </a:bodyPr>
          <a:lstStyle/>
          <a:p>
            <a:pPr algn="ctr">
              <a:lnSpc>
                <a:spcPct val="150000"/>
              </a:lnSpc>
            </a:pPr>
            <a:r>
              <a:rPr lang="en-US" b="1" u="sng" dirty="0" err="1">
                <a:solidFill>
                  <a:schemeClr val="bg2"/>
                </a:solidFill>
                <a:latin typeface="+mj-lt"/>
              </a:rPr>
              <a:t>Caracteristicas</a:t>
            </a:r>
            <a:r>
              <a:rPr lang="en-US" b="1" u="sng" dirty="0">
                <a:solidFill>
                  <a:schemeClr val="bg2"/>
                </a:solidFill>
                <a:latin typeface="+mj-lt"/>
              </a:rPr>
              <a:t> de las </a:t>
            </a:r>
            <a:r>
              <a:rPr lang="en-US" b="1" u="sng" dirty="0" err="1">
                <a:solidFill>
                  <a:schemeClr val="bg2"/>
                </a:solidFill>
                <a:latin typeface="+mj-lt"/>
              </a:rPr>
              <a:t>pacientes</a:t>
            </a:r>
            <a:endParaRPr lang="en-US" sz="1500" b="1" u="sng" dirty="0">
              <a:solidFill>
                <a:schemeClr val="bg2"/>
              </a:solidFill>
              <a:latin typeface="+mj-lt"/>
            </a:endParaRPr>
          </a:p>
          <a:p>
            <a:pPr marL="92075" indent="-92075">
              <a:lnSpc>
                <a:spcPct val="150000"/>
              </a:lnSpc>
              <a:buFont typeface="Arial" charset="0"/>
              <a:buChar char="•"/>
            </a:pPr>
            <a:r>
              <a:rPr lang="en-US" sz="1500" b="1" dirty="0" err="1">
                <a:solidFill>
                  <a:schemeClr val="bg2"/>
                </a:solidFill>
                <a:latin typeface="+mj-lt"/>
              </a:rPr>
              <a:t>Mujeres</a:t>
            </a:r>
            <a:endParaRPr lang="en-US" sz="1500" b="1" dirty="0">
              <a:solidFill>
                <a:schemeClr val="bg2"/>
              </a:solidFill>
              <a:latin typeface="+mj-lt"/>
            </a:endParaRPr>
          </a:p>
          <a:p>
            <a:pPr marL="92075" indent="-92075">
              <a:lnSpc>
                <a:spcPct val="150000"/>
              </a:lnSpc>
              <a:buFont typeface="Arial" charset="0"/>
              <a:buChar char="•"/>
            </a:pPr>
            <a:r>
              <a:rPr lang="en-US" sz="1500" b="1" dirty="0" err="1">
                <a:solidFill>
                  <a:schemeClr val="bg2"/>
                </a:solidFill>
                <a:latin typeface="+mj-lt"/>
              </a:rPr>
              <a:t>Mayores</a:t>
            </a:r>
            <a:r>
              <a:rPr lang="en-US" sz="1500" b="1" dirty="0">
                <a:solidFill>
                  <a:schemeClr val="bg2"/>
                </a:solidFill>
                <a:latin typeface="+mj-lt"/>
              </a:rPr>
              <a:t> de 18 </a:t>
            </a:r>
            <a:r>
              <a:rPr lang="en-US" sz="1500" b="1" dirty="0" err="1">
                <a:solidFill>
                  <a:schemeClr val="bg2"/>
                </a:solidFill>
                <a:latin typeface="+mj-lt"/>
              </a:rPr>
              <a:t>años</a:t>
            </a:r>
            <a:endParaRPr lang="en-US" sz="1500" b="1" dirty="0">
              <a:solidFill>
                <a:schemeClr val="bg2"/>
              </a:solidFill>
              <a:latin typeface="+mj-lt"/>
            </a:endParaRPr>
          </a:p>
          <a:p>
            <a:pPr marL="92075" indent="-92075">
              <a:lnSpc>
                <a:spcPct val="150000"/>
              </a:lnSpc>
              <a:buFont typeface="Arial" charset="0"/>
              <a:buChar char="•"/>
            </a:pPr>
            <a:r>
              <a:rPr lang="en-US" sz="1500" b="1" dirty="0" err="1">
                <a:solidFill>
                  <a:schemeClr val="bg2"/>
                </a:solidFill>
                <a:latin typeface="+mj-lt"/>
              </a:rPr>
              <a:t>Cáncer</a:t>
            </a:r>
            <a:r>
              <a:rPr lang="en-US" sz="1500" b="1" dirty="0">
                <a:solidFill>
                  <a:schemeClr val="bg2"/>
                </a:solidFill>
                <a:latin typeface="+mj-lt"/>
              </a:rPr>
              <a:t> de Mama </a:t>
            </a:r>
            <a:r>
              <a:rPr lang="en-US" sz="1500" b="1" dirty="0" err="1">
                <a:solidFill>
                  <a:schemeClr val="bg2"/>
                </a:solidFill>
                <a:latin typeface="+mj-lt"/>
              </a:rPr>
              <a:t>Metastásico</a:t>
            </a:r>
            <a:endParaRPr lang="en-US" sz="1500" b="1" dirty="0">
              <a:solidFill>
                <a:schemeClr val="bg2"/>
              </a:solidFill>
              <a:latin typeface="+mj-lt"/>
            </a:endParaRPr>
          </a:p>
          <a:p>
            <a:pPr marL="92075" indent="-92075">
              <a:lnSpc>
                <a:spcPct val="150000"/>
              </a:lnSpc>
              <a:buFont typeface="Arial" charset="0"/>
              <a:buChar char="•"/>
            </a:pPr>
            <a:r>
              <a:rPr lang="en-US" sz="1500" b="1" dirty="0" err="1">
                <a:solidFill>
                  <a:schemeClr val="bg2"/>
                </a:solidFill>
                <a:latin typeface="+mj-lt"/>
              </a:rPr>
              <a:t>Expresión</a:t>
            </a:r>
            <a:r>
              <a:rPr lang="en-US" sz="1500" b="1" dirty="0">
                <a:solidFill>
                  <a:schemeClr val="bg2"/>
                </a:solidFill>
                <a:latin typeface="+mj-lt"/>
              </a:rPr>
              <a:t> de receptors: ER[+]/HER2[-]</a:t>
            </a:r>
          </a:p>
          <a:p>
            <a:pPr marL="92075" indent="-92075">
              <a:lnSpc>
                <a:spcPct val="150000"/>
              </a:lnSpc>
              <a:buFont typeface="Arial" charset="0"/>
              <a:buChar char="•"/>
            </a:pPr>
            <a:r>
              <a:rPr lang="en-US" sz="1500" b="1" dirty="0">
                <a:solidFill>
                  <a:schemeClr val="bg2"/>
                </a:solidFill>
                <a:latin typeface="+mj-lt"/>
              </a:rPr>
              <a:t>No prior therapy for MBC (1a L)</a:t>
            </a:r>
          </a:p>
          <a:p>
            <a:pPr marL="92075" indent="-92075">
              <a:lnSpc>
                <a:spcPct val="150000"/>
              </a:lnSpc>
              <a:buFont typeface="Arial" charset="0"/>
              <a:buChar char="•"/>
            </a:pPr>
            <a:r>
              <a:rPr lang="en-US" sz="1500" b="1" dirty="0" err="1">
                <a:solidFill>
                  <a:schemeClr val="bg2"/>
                </a:solidFill>
                <a:latin typeface="+mj-lt"/>
              </a:rPr>
              <a:t>Metastásis</a:t>
            </a:r>
            <a:r>
              <a:rPr lang="en-US" sz="1500" b="1" dirty="0">
                <a:solidFill>
                  <a:schemeClr val="bg2"/>
                </a:solidFill>
                <a:latin typeface="+mj-lt"/>
              </a:rPr>
              <a:t> hepaticas </a:t>
            </a:r>
            <a:r>
              <a:rPr lang="en-US" sz="1500" b="1" dirty="0" err="1">
                <a:solidFill>
                  <a:schemeClr val="bg2"/>
                </a:solidFill>
                <a:latin typeface="+mj-lt"/>
              </a:rPr>
              <a:t>obligatoria</a:t>
            </a:r>
            <a:endParaRPr lang="en-US" sz="1500" b="1" dirty="0">
              <a:solidFill>
                <a:schemeClr val="bg2"/>
              </a:solidFill>
              <a:latin typeface="+mj-lt"/>
            </a:endParaRPr>
          </a:p>
          <a:p>
            <a:pPr marL="92075" indent="-92075">
              <a:lnSpc>
                <a:spcPct val="150000"/>
              </a:lnSpc>
              <a:buFont typeface="Arial" charset="0"/>
              <a:buChar char="•"/>
            </a:pPr>
            <a:r>
              <a:rPr lang="en-US" sz="1500" b="1" dirty="0">
                <a:solidFill>
                  <a:schemeClr val="bg2"/>
                </a:solidFill>
                <a:latin typeface="+mj-lt"/>
              </a:rPr>
              <a:t>ECOG 0 - 1</a:t>
            </a:r>
          </a:p>
        </p:txBody>
      </p:sp>
      <p:sp>
        <p:nvSpPr>
          <p:cNvPr id="39" name="AutoShape 11">
            <a:extLst>
              <a:ext uri="{FF2B5EF4-FFF2-40B4-BE49-F238E27FC236}">
                <a16:creationId xmlns:a16="http://schemas.microsoft.com/office/drawing/2014/main" id="{E83DCAC9-4F13-4B43-9A1B-B90E46F72E4C}"/>
              </a:ext>
            </a:extLst>
          </p:cNvPr>
          <p:cNvSpPr>
            <a:spLocks noChangeArrowheads="1"/>
          </p:cNvSpPr>
          <p:nvPr/>
        </p:nvSpPr>
        <p:spPr bwMode="auto">
          <a:xfrm>
            <a:off x="4910000" y="1700722"/>
            <a:ext cx="2572537" cy="1739036"/>
          </a:xfrm>
          <a:prstGeom prst="roundRect">
            <a:avLst>
              <a:gd name="adj" fmla="val 4868"/>
            </a:avLst>
          </a:prstGeom>
          <a:solidFill>
            <a:schemeClr val="accent6">
              <a:lumMod val="20000"/>
              <a:lumOff val="80000"/>
            </a:schemeClr>
          </a:solidFill>
          <a:ln w="38100" cmpd="sng">
            <a:solidFill>
              <a:srgbClr val="EA5D0A"/>
            </a:solidFill>
            <a:round/>
            <a:headEnd type="none" w="sm" len="sm"/>
            <a:tailEnd type="none" w="sm" len="sm"/>
          </a:ln>
        </p:spPr>
        <p:txBody>
          <a:bodyPr wrap="square" tIns="18000" bIns="18000" anchor="ctr">
            <a:noAutofit/>
          </a:bodyPr>
          <a:lstStyle/>
          <a:p>
            <a:r>
              <a:rPr lang="en-US" sz="1600" b="1" i="1" dirty="0" err="1">
                <a:solidFill>
                  <a:schemeClr val="bg2"/>
                </a:solidFill>
                <a:latin typeface="+mj-lt"/>
              </a:rPr>
              <a:t>Cohorte</a:t>
            </a:r>
            <a:r>
              <a:rPr lang="en-US" sz="1600" b="1" i="1" dirty="0">
                <a:solidFill>
                  <a:schemeClr val="bg2"/>
                </a:solidFill>
                <a:latin typeface="+mj-lt"/>
              </a:rPr>
              <a:t> 1:</a:t>
            </a:r>
          </a:p>
          <a:p>
            <a:pPr marL="266700" indent="-174625">
              <a:buFont typeface="Arial" charset="0"/>
              <a:buChar char="•"/>
            </a:pPr>
            <a:r>
              <a:rPr lang="en-US" sz="1400" b="1" dirty="0">
                <a:solidFill>
                  <a:schemeClr val="bg2"/>
                </a:solidFill>
                <a:latin typeface="+mj-lt"/>
              </a:rPr>
              <a:t>“Endocrine Naive” or “De novo”  patients</a:t>
            </a:r>
          </a:p>
          <a:p>
            <a:pPr marL="266700" indent="-174625">
              <a:buFont typeface="Arial" charset="0"/>
              <a:buChar char="•"/>
            </a:pPr>
            <a:r>
              <a:rPr lang="en-US" sz="1400" b="1" dirty="0">
                <a:solidFill>
                  <a:schemeClr val="bg2"/>
                </a:solidFill>
                <a:latin typeface="+mj-lt"/>
              </a:rPr>
              <a:t>PD on </a:t>
            </a:r>
            <a:r>
              <a:rPr lang="en-US" sz="1400" b="1" dirty="0" err="1">
                <a:solidFill>
                  <a:schemeClr val="bg2"/>
                </a:solidFill>
                <a:latin typeface="+mj-lt"/>
              </a:rPr>
              <a:t>Adj</a:t>
            </a:r>
            <a:r>
              <a:rPr lang="en-US" sz="1400" b="1" dirty="0">
                <a:solidFill>
                  <a:schemeClr val="bg2"/>
                </a:solidFill>
                <a:latin typeface="+mj-lt"/>
              </a:rPr>
              <a:t> TAM or within 1 year</a:t>
            </a:r>
          </a:p>
          <a:p>
            <a:pPr marL="266700" indent="-174625">
              <a:buFont typeface="Arial" charset="0"/>
              <a:buChar char="•"/>
            </a:pPr>
            <a:r>
              <a:rPr lang="en-US" sz="1400" b="1" dirty="0">
                <a:solidFill>
                  <a:schemeClr val="bg2"/>
                </a:solidFill>
                <a:latin typeface="+mj-lt"/>
              </a:rPr>
              <a:t>&gt; 1 year relapse from the end of (neo)</a:t>
            </a:r>
            <a:r>
              <a:rPr lang="en-US" sz="1400" b="1" dirty="0" err="1">
                <a:solidFill>
                  <a:schemeClr val="bg2"/>
                </a:solidFill>
                <a:latin typeface="+mj-lt"/>
              </a:rPr>
              <a:t>adj</a:t>
            </a:r>
            <a:r>
              <a:rPr lang="en-US" sz="1400" b="1" dirty="0">
                <a:solidFill>
                  <a:schemeClr val="bg2"/>
                </a:solidFill>
                <a:latin typeface="+mj-lt"/>
              </a:rPr>
              <a:t> ET</a:t>
            </a:r>
          </a:p>
        </p:txBody>
      </p:sp>
      <p:sp>
        <p:nvSpPr>
          <p:cNvPr id="41" name="AutoShape 11">
            <a:extLst>
              <a:ext uri="{FF2B5EF4-FFF2-40B4-BE49-F238E27FC236}">
                <a16:creationId xmlns:a16="http://schemas.microsoft.com/office/drawing/2014/main" id="{A6062B91-E7AE-46DB-A374-DF1B64A76A67}"/>
              </a:ext>
            </a:extLst>
          </p:cNvPr>
          <p:cNvSpPr>
            <a:spLocks noChangeArrowheads="1"/>
          </p:cNvSpPr>
          <p:nvPr/>
        </p:nvSpPr>
        <p:spPr bwMode="auto">
          <a:xfrm>
            <a:off x="4886926" y="3529947"/>
            <a:ext cx="2622192" cy="1086605"/>
          </a:xfrm>
          <a:prstGeom prst="roundRect">
            <a:avLst>
              <a:gd name="adj" fmla="val 4868"/>
            </a:avLst>
          </a:prstGeom>
          <a:solidFill>
            <a:schemeClr val="accent6">
              <a:lumMod val="20000"/>
              <a:lumOff val="80000"/>
            </a:schemeClr>
          </a:solidFill>
          <a:ln w="38100" cmpd="sng">
            <a:solidFill>
              <a:srgbClr val="EA5D0A"/>
            </a:solidFill>
            <a:round/>
            <a:headEnd type="none" w="sm" len="sm"/>
            <a:tailEnd type="none" w="sm" len="sm"/>
          </a:ln>
        </p:spPr>
        <p:txBody>
          <a:bodyPr wrap="square" tIns="18000" bIns="18000" anchor="ctr">
            <a:noAutofit/>
          </a:bodyPr>
          <a:lstStyle/>
          <a:p>
            <a:r>
              <a:rPr lang="es-ES" sz="1600" b="1" i="1" dirty="0">
                <a:solidFill>
                  <a:schemeClr val="bg2"/>
                </a:solidFill>
                <a:latin typeface="+mj-lt"/>
              </a:rPr>
              <a:t>Cohorte 2*: </a:t>
            </a:r>
          </a:p>
          <a:p>
            <a:pPr marL="285750" indent="-146050">
              <a:buFont typeface="Arial" charset="0"/>
              <a:buChar char="•"/>
            </a:pPr>
            <a:r>
              <a:rPr lang="es-ES" sz="1400" b="1" dirty="0">
                <a:solidFill>
                  <a:schemeClr val="bg2"/>
                </a:solidFill>
                <a:latin typeface="+mj-lt"/>
              </a:rPr>
              <a:t>PD </a:t>
            </a:r>
            <a:r>
              <a:rPr lang="es-ES" sz="1400" b="1" dirty="0" err="1">
                <a:solidFill>
                  <a:schemeClr val="bg2"/>
                </a:solidFill>
                <a:latin typeface="+mj-lt"/>
              </a:rPr>
              <a:t>on</a:t>
            </a:r>
            <a:r>
              <a:rPr lang="es-ES" sz="1400" b="1" dirty="0">
                <a:solidFill>
                  <a:schemeClr val="bg2"/>
                </a:solidFill>
                <a:latin typeface="+mj-lt"/>
              </a:rPr>
              <a:t> (neo)</a:t>
            </a:r>
            <a:r>
              <a:rPr lang="es-ES" sz="1400" b="1" dirty="0" err="1">
                <a:solidFill>
                  <a:schemeClr val="bg2"/>
                </a:solidFill>
                <a:latin typeface="+mj-lt"/>
              </a:rPr>
              <a:t>adjuvant</a:t>
            </a:r>
            <a:r>
              <a:rPr lang="es-ES" sz="1400" b="1" dirty="0">
                <a:solidFill>
                  <a:schemeClr val="bg2"/>
                </a:solidFill>
                <a:latin typeface="+mj-lt"/>
              </a:rPr>
              <a:t> </a:t>
            </a:r>
            <a:r>
              <a:rPr lang="es-ES" sz="1400" b="1" dirty="0" err="1">
                <a:solidFill>
                  <a:schemeClr val="bg2"/>
                </a:solidFill>
                <a:latin typeface="+mj-lt"/>
              </a:rPr>
              <a:t>AIs</a:t>
            </a:r>
            <a:r>
              <a:rPr lang="es-ES" sz="1400" b="1" dirty="0">
                <a:solidFill>
                  <a:schemeClr val="bg2"/>
                </a:solidFill>
                <a:latin typeface="+mj-lt"/>
              </a:rPr>
              <a:t> </a:t>
            </a:r>
            <a:r>
              <a:rPr lang="es-ES" sz="1400" b="1" dirty="0" err="1">
                <a:solidFill>
                  <a:schemeClr val="bg2"/>
                </a:solidFill>
                <a:latin typeface="+mj-lt"/>
              </a:rPr>
              <a:t>or</a:t>
            </a:r>
            <a:r>
              <a:rPr lang="es-ES" sz="1400" b="1" dirty="0">
                <a:solidFill>
                  <a:schemeClr val="bg2"/>
                </a:solidFill>
                <a:latin typeface="+mj-lt"/>
              </a:rPr>
              <a:t> </a:t>
            </a:r>
            <a:r>
              <a:rPr lang="es-ES" sz="1400" b="1" dirty="0" err="1">
                <a:solidFill>
                  <a:schemeClr val="bg2"/>
                </a:solidFill>
                <a:latin typeface="+mj-lt"/>
              </a:rPr>
              <a:t>within</a:t>
            </a:r>
            <a:r>
              <a:rPr lang="es-ES" sz="1400" b="1" dirty="0">
                <a:solidFill>
                  <a:schemeClr val="bg2"/>
                </a:solidFill>
                <a:latin typeface="+mj-lt"/>
              </a:rPr>
              <a:t> 1 </a:t>
            </a:r>
            <a:r>
              <a:rPr lang="es-ES" sz="1400" b="1" dirty="0" err="1">
                <a:solidFill>
                  <a:schemeClr val="bg2"/>
                </a:solidFill>
                <a:latin typeface="+mj-lt"/>
              </a:rPr>
              <a:t>year</a:t>
            </a:r>
            <a:endParaRPr lang="en-US" sz="1400" b="1" dirty="0">
              <a:solidFill>
                <a:schemeClr val="bg2"/>
              </a:solidFill>
              <a:latin typeface="+mj-lt"/>
            </a:endParaRPr>
          </a:p>
        </p:txBody>
      </p:sp>
      <p:sp>
        <p:nvSpPr>
          <p:cNvPr id="27" name="AutoShape 11">
            <a:extLst>
              <a:ext uri="{FF2B5EF4-FFF2-40B4-BE49-F238E27FC236}">
                <a16:creationId xmlns:a16="http://schemas.microsoft.com/office/drawing/2014/main" id="{D21C23CC-C549-41C0-B897-5F84ADEED764}"/>
              </a:ext>
            </a:extLst>
          </p:cNvPr>
          <p:cNvSpPr>
            <a:spLocks noChangeArrowheads="1"/>
          </p:cNvSpPr>
          <p:nvPr/>
        </p:nvSpPr>
        <p:spPr bwMode="auto">
          <a:xfrm>
            <a:off x="8051752" y="2939877"/>
            <a:ext cx="1847615" cy="763325"/>
          </a:xfrm>
          <a:prstGeom prst="roundRect">
            <a:avLst>
              <a:gd name="adj" fmla="val 4868"/>
            </a:avLst>
          </a:prstGeom>
          <a:noFill/>
          <a:ln w="38100" cmpd="sng">
            <a:noFill/>
            <a:round/>
            <a:headEnd type="none" w="sm" len="sm"/>
            <a:tailEnd type="none" w="sm" len="sm"/>
          </a:ln>
        </p:spPr>
        <p:txBody>
          <a:bodyPr wrap="square" tIns="18000" bIns="18000" anchor="ctr">
            <a:noAutofit/>
          </a:bodyPr>
          <a:lstStyle/>
          <a:p>
            <a:pPr algn="ctr"/>
            <a:r>
              <a:rPr lang="en-US" sz="1400" b="1" i="1" dirty="0">
                <a:solidFill>
                  <a:schemeClr val="bg2"/>
                </a:solidFill>
              </a:rPr>
              <a:t>Pero..</a:t>
            </a:r>
            <a:r>
              <a:rPr lang="en-US" sz="1400" b="1" i="1" dirty="0" err="1">
                <a:solidFill>
                  <a:schemeClr val="bg2"/>
                </a:solidFill>
              </a:rPr>
              <a:t>cuantas</a:t>
            </a:r>
            <a:r>
              <a:rPr lang="en-US" sz="1400" b="1" i="1" dirty="0">
                <a:solidFill>
                  <a:schemeClr val="bg2"/>
                </a:solidFill>
              </a:rPr>
              <a:t> </a:t>
            </a:r>
            <a:r>
              <a:rPr lang="en-US" sz="1400" b="1" i="1" dirty="0" err="1">
                <a:solidFill>
                  <a:schemeClr val="bg2"/>
                </a:solidFill>
              </a:rPr>
              <a:t>pacientes</a:t>
            </a:r>
            <a:r>
              <a:rPr lang="en-US" sz="1400" b="1" i="1" dirty="0">
                <a:solidFill>
                  <a:schemeClr val="bg2"/>
                </a:solidFill>
              </a:rPr>
              <a:t>???</a:t>
            </a:r>
            <a:endParaRPr lang="en-US" sz="1400" b="1" i="1" dirty="0">
              <a:solidFill>
                <a:schemeClr val="bg2"/>
              </a:solidFill>
              <a:latin typeface="+mj-lt"/>
            </a:endParaRPr>
          </a:p>
        </p:txBody>
      </p:sp>
      <p:sp>
        <p:nvSpPr>
          <p:cNvPr id="32" name="AutoShape 11">
            <a:extLst>
              <a:ext uri="{FF2B5EF4-FFF2-40B4-BE49-F238E27FC236}">
                <a16:creationId xmlns:a16="http://schemas.microsoft.com/office/drawing/2014/main" id="{1A7E6958-B8FB-8C4F-99AE-570A2F29094B}"/>
              </a:ext>
            </a:extLst>
          </p:cNvPr>
          <p:cNvSpPr>
            <a:spLocks noChangeArrowheads="1"/>
          </p:cNvSpPr>
          <p:nvPr/>
        </p:nvSpPr>
        <p:spPr bwMode="auto">
          <a:xfrm>
            <a:off x="1175169" y="2333710"/>
            <a:ext cx="3580348" cy="1975657"/>
          </a:xfrm>
          <a:prstGeom prst="roundRect">
            <a:avLst>
              <a:gd name="adj" fmla="val 5326"/>
            </a:avLst>
          </a:prstGeom>
          <a:solidFill>
            <a:schemeClr val="bg1"/>
          </a:solidFill>
          <a:ln w="38100" cmpd="sng">
            <a:solidFill>
              <a:srgbClr val="FF6600"/>
            </a:solidFill>
            <a:round/>
            <a:headEnd type="none" w="sm" len="sm"/>
            <a:tailEnd type="none" w="sm" len="sm"/>
          </a:ln>
        </p:spPr>
        <p:txBody>
          <a:bodyPr wrap="square" tIns="18000" bIns="18000" anchor="ctr">
            <a:noAutofit/>
          </a:bodyPr>
          <a:lstStyle/>
          <a:p>
            <a:pPr lvl="0" algn="just"/>
            <a:r>
              <a:rPr lang="en-US" sz="1200" i="1" dirty="0"/>
              <a:t>Exclusion</a:t>
            </a:r>
          </a:p>
          <a:p>
            <a:pPr marL="177800" indent="-177800" algn="just">
              <a:buFont typeface="Wingdings" charset="2"/>
              <a:buChar char="Ø"/>
            </a:pPr>
            <a:r>
              <a:rPr lang="en-US" sz="1200" dirty="0"/>
              <a:t>ECOG 2 or superior</a:t>
            </a:r>
          </a:p>
          <a:p>
            <a:pPr marL="177800" indent="-177800" algn="just">
              <a:buFont typeface="Wingdings" charset="2"/>
              <a:buChar char="Ø"/>
            </a:pPr>
            <a:r>
              <a:rPr lang="en-US" sz="1200" dirty="0">
                <a:cs typeface="Calibri"/>
              </a:rPr>
              <a:t>Prior CDk4/6 exposition</a:t>
            </a:r>
          </a:p>
          <a:p>
            <a:pPr marL="177800" indent="-177800" algn="just">
              <a:buFont typeface="Wingdings" charset="2"/>
              <a:buChar char="Ø"/>
            </a:pPr>
            <a:r>
              <a:rPr lang="en-US" sz="1200" dirty="0">
                <a:cs typeface="Calibri"/>
              </a:rPr>
              <a:t>Non measurable or absence of liver disease</a:t>
            </a:r>
          </a:p>
          <a:p>
            <a:pPr marL="177800" indent="-177800" algn="just">
              <a:buFont typeface="Wingdings" charset="2"/>
              <a:buChar char="Ø"/>
            </a:pPr>
            <a:r>
              <a:rPr lang="en-US" sz="1200" dirty="0">
                <a:cs typeface="Calibri"/>
              </a:rPr>
              <a:t>Presence of neurological symptoms or confirmed CNS involvement</a:t>
            </a:r>
          </a:p>
          <a:p>
            <a:pPr marL="177800" indent="-177800" algn="just">
              <a:buFont typeface="Wingdings" charset="2"/>
              <a:buChar char="Ø"/>
            </a:pPr>
            <a:r>
              <a:rPr lang="en-US" sz="1200" dirty="0">
                <a:cs typeface="Calibri"/>
              </a:rPr>
              <a:t>Resistant criteria to both Aromatase inhibitors and </a:t>
            </a:r>
            <a:r>
              <a:rPr lang="en-US" sz="1200" dirty="0" err="1">
                <a:cs typeface="Calibri"/>
              </a:rPr>
              <a:t>fulvestrant</a:t>
            </a:r>
            <a:r>
              <a:rPr lang="en-US" sz="1200" dirty="0">
                <a:cs typeface="Calibri"/>
              </a:rPr>
              <a:t> </a:t>
            </a:r>
          </a:p>
          <a:p>
            <a:pPr marL="177800" indent="-177800" algn="just">
              <a:buFont typeface="Wingdings" charset="2"/>
              <a:buChar char="Ø"/>
            </a:pPr>
            <a:r>
              <a:rPr lang="en-US" sz="1200" dirty="0">
                <a:cs typeface="Calibri"/>
              </a:rPr>
              <a:t>Contraindication for metastatic liver biopsy </a:t>
            </a:r>
          </a:p>
        </p:txBody>
      </p:sp>
      <p:sp>
        <p:nvSpPr>
          <p:cNvPr id="33" name="AutoShape 11">
            <a:extLst>
              <a:ext uri="{FF2B5EF4-FFF2-40B4-BE49-F238E27FC236}">
                <a16:creationId xmlns:a16="http://schemas.microsoft.com/office/drawing/2014/main" id="{94992B97-23D9-A74B-92BF-2348069F2BD6}"/>
              </a:ext>
            </a:extLst>
          </p:cNvPr>
          <p:cNvSpPr>
            <a:spLocks noChangeArrowheads="1"/>
          </p:cNvSpPr>
          <p:nvPr/>
        </p:nvSpPr>
        <p:spPr bwMode="auto">
          <a:xfrm>
            <a:off x="2610705" y="5496272"/>
            <a:ext cx="8532033" cy="644056"/>
          </a:xfrm>
          <a:prstGeom prst="roundRect">
            <a:avLst>
              <a:gd name="adj" fmla="val 4868"/>
            </a:avLst>
          </a:prstGeom>
          <a:solidFill>
            <a:schemeClr val="bg1"/>
          </a:solidFill>
          <a:ln w="38100" cmpd="sng">
            <a:solidFill>
              <a:srgbClr val="FF6600"/>
            </a:solidFill>
            <a:round/>
            <a:headEnd type="none" w="sm" len="sm"/>
            <a:tailEnd type="none" w="sm" len="sm"/>
          </a:ln>
        </p:spPr>
        <p:txBody>
          <a:bodyPr wrap="square" tIns="18000" bIns="18000" anchor="ctr">
            <a:noAutofit/>
          </a:bodyPr>
          <a:lstStyle/>
          <a:p>
            <a:pPr lvl="0" algn="ctr"/>
            <a:r>
              <a:rPr lang="en-US" b="1" u="sng" dirty="0">
                <a:solidFill>
                  <a:schemeClr val="tx1">
                    <a:lumMod val="60000"/>
                    <a:lumOff val="40000"/>
                  </a:schemeClr>
                </a:solidFill>
              </a:rPr>
              <a:t>Secondary Endpoints</a:t>
            </a:r>
            <a:r>
              <a:rPr lang="en-US" b="1" dirty="0">
                <a:solidFill>
                  <a:schemeClr val="tx1">
                    <a:lumMod val="60000"/>
                    <a:lumOff val="40000"/>
                  </a:schemeClr>
                </a:solidFill>
              </a:rPr>
              <a:t>: </a:t>
            </a:r>
            <a:r>
              <a:rPr lang="es-ES" b="1" dirty="0">
                <a:solidFill>
                  <a:schemeClr val="tx1">
                    <a:lumMod val="60000"/>
                    <a:lumOff val="40000"/>
                  </a:schemeClr>
                </a:solidFill>
                <a:cs typeface="Calibri"/>
              </a:rPr>
              <a:t>Toxicidad, TR, Estudios Moleculares (</a:t>
            </a:r>
            <a:r>
              <a:rPr lang="es-ES" b="1" dirty="0" err="1">
                <a:solidFill>
                  <a:schemeClr val="tx1">
                    <a:lumMod val="60000"/>
                    <a:lumOff val="40000"/>
                  </a:schemeClr>
                </a:solidFill>
                <a:cs typeface="Calibri"/>
              </a:rPr>
              <a:t>Biomarcador</a:t>
            </a:r>
            <a:r>
              <a:rPr lang="es-ES" b="1" dirty="0">
                <a:solidFill>
                  <a:schemeClr val="tx1">
                    <a:lumMod val="60000"/>
                    <a:lumOff val="40000"/>
                  </a:schemeClr>
                </a:solidFill>
                <a:cs typeface="Calibri"/>
              </a:rPr>
              <a:t>)  </a:t>
            </a:r>
            <a:endParaRPr lang="en-US" b="1" dirty="0">
              <a:solidFill>
                <a:schemeClr val="tx1">
                  <a:lumMod val="60000"/>
                  <a:lumOff val="40000"/>
                </a:schemeClr>
              </a:solidFill>
              <a:cs typeface="Calibri"/>
            </a:endParaRPr>
          </a:p>
        </p:txBody>
      </p:sp>
    </p:spTree>
    <p:extLst>
      <p:ext uri="{BB962C8B-B14F-4D97-AF65-F5344CB8AC3E}">
        <p14:creationId xmlns:p14="http://schemas.microsoft.com/office/powerpoint/2010/main" val="3058896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1"/>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0"/>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0"/>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11"/>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33"/>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6" grpId="0" animBg="1"/>
      <p:bldP spid="25" grpId="0" animBg="1"/>
      <p:bldP spid="26" grpId="0" animBg="1"/>
      <p:bldP spid="28" grpId="0"/>
      <p:bldP spid="30" grpId="0" animBg="1"/>
      <p:bldP spid="10" grpId="0"/>
      <p:bldP spid="29" grpId="0" animBg="1"/>
      <p:bldP spid="39" grpId="0" animBg="1"/>
      <p:bldP spid="41" grpId="0" animBg="1"/>
      <p:bldP spid="27" grpId="0"/>
      <p:bldP spid="32" grpId="0" animBg="1"/>
      <p:bldP spid="3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C9233104-702D-5C47-A98D-C190BDF932B2}"/>
              </a:ext>
            </a:extLst>
          </p:cNvPr>
          <p:cNvSpPr/>
          <p:nvPr/>
        </p:nvSpPr>
        <p:spPr>
          <a:xfrm>
            <a:off x="177800" y="1727200"/>
            <a:ext cx="10693400" cy="4737100"/>
          </a:xfrm>
          <a:prstGeom prst="rect">
            <a:avLst/>
          </a:prstGeom>
          <a:solidFill>
            <a:schemeClr val="bg1"/>
          </a:solidFill>
          <a:ln w="57150">
            <a:solidFill>
              <a:srgbClr val="EA5D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3" name="Rectangle: Rounded Corners 61">
            <a:extLst>
              <a:ext uri="{FF2B5EF4-FFF2-40B4-BE49-F238E27FC236}">
                <a16:creationId xmlns:a16="http://schemas.microsoft.com/office/drawing/2014/main" id="{4C74CA96-FB32-384F-8FBA-6E8F495C195F}"/>
              </a:ext>
            </a:extLst>
          </p:cNvPr>
          <p:cNvSpPr/>
          <p:nvPr/>
        </p:nvSpPr>
        <p:spPr>
          <a:xfrm>
            <a:off x="6082742" y="3854822"/>
            <a:ext cx="1486338" cy="884081"/>
          </a:xfrm>
          <a:prstGeom prst="roundRect">
            <a:avLst>
              <a:gd name="adj" fmla="val 5303"/>
            </a:avLst>
          </a:prstGeom>
          <a:solidFill>
            <a:srgbClr val="FFFFFF"/>
          </a:solidFill>
          <a:ln w="9525">
            <a:noFill/>
          </a:ln>
          <a:effectLst>
            <a:innerShdw blurRad="114300">
              <a:prstClr val="black">
                <a:alpha val="27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tx1"/>
              </a:solidFill>
            </a:endParaRPr>
          </a:p>
        </p:txBody>
      </p:sp>
      <p:sp>
        <p:nvSpPr>
          <p:cNvPr id="14" name="Rectangle: Rounded Corners 60">
            <a:extLst>
              <a:ext uri="{FF2B5EF4-FFF2-40B4-BE49-F238E27FC236}">
                <a16:creationId xmlns:a16="http://schemas.microsoft.com/office/drawing/2014/main" id="{2DA341BD-193A-B645-A8A6-605165739B06}"/>
              </a:ext>
            </a:extLst>
          </p:cNvPr>
          <p:cNvSpPr/>
          <p:nvPr/>
        </p:nvSpPr>
        <p:spPr>
          <a:xfrm>
            <a:off x="3502680" y="3854822"/>
            <a:ext cx="1486338" cy="884081"/>
          </a:xfrm>
          <a:prstGeom prst="roundRect">
            <a:avLst>
              <a:gd name="adj" fmla="val 5303"/>
            </a:avLst>
          </a:prstGeom>
          <a:solidFill>
            <a:srgbClr val="FFFFFF"/>
          </a:solidFill>
          <a:ln w="9525">
            <a:noFill/>
          </a:ln>
          <a:effectLst>
            <a:innerShdw blurRad="114300">
              <a:prstClr val="black">
                <a:alpha val="27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tx1"/>
              </a:solidFill>
            </a:endParaRPr>
          </a:p>
        </p:txBody>
      </p:sp>
      <p:sp>
        <p:nvSpPr>
          <p:cNvPr id="15" name="Rectangle: Rounded Corners 38">
            <a:extLst>
              <a:ext uri="{FF2B5EF4-FFF2-40B4-BE49-F238E27FC236}">
                <a16:creationId xmlns:a16="http://schemas.microsoft.com/office/drawing/2014/main" id="{ADF84EC1-833E-8443-866E-05361872866D}"/>
              </a:ext>
            </a:extLst>
          </p:cNvPr>
          <p:cNvSpPr/>
          <p:nvPr/>
        </p:nvSpPr>
        <p:spPr>
          <a:xfrm>
            <a:off x="922620" y="2727507"/>
            <a:ext cx="1486338" cy="884081"/>
          </a:xfrm>
          <a:prstGeom prst="roundRect">
            <a:avLst>
              <a:gd name="adj" fmla="val 5303"/>
            </a:avLst>
          </a:prstGeom>
          <a:solidFill>
            <a:srgbClr val="FFFFFF"/>
          </a:solidFill>
          <a:ln w="9525">
            <a:noFill/>
          </a:ln>
          <a:effectLst>
            <a:innerShdw blurRad="114300">
              <a:prstClr val="black">
                <a:alpha val="27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tx1"/>
              </a:solidFill>
            </a:endParaRPr>
          </a:p>
        </p:txBody>
      </p:sp>
      <p:sp>
        <p:nvSpPr>
          <p:cNvPr id="16" name="Rectangle: Rounded Corners 39">
            <a:extLst>
              <a:ext uri="{FF2B5EF4-FFF2-40B4-BE49-F238E27FC236}">
                <a16:creationId xmlns:a16="http://schemas.microsoft.com/office/drawing/2014/main" id="{203343D6-830E-524A-8704-E79BB496F547}"/>
              </a:ext>
            </a:extLst>
          </p:cNvPr>
          <p:cNvSpPr/>
          <p:nvPr/>
        </p:nvSpPr>
        <p:spPr>
          <a:xfrm>
            <a:off x="3502680" y="2727507"/>
            <a:ext cx="1486338" cy="884081"/>
          </a:xfrm>
          <a:prstGeom prst="roundRect">
            <a:avLst>
              <a:gd name="adj" fmla="val 5303"/>
            </a:avLst>
          </a:prstGeom>
          <a:solidFill>
            <a:srgbClr val="FFFFFF"/>
          </a:solidFill>
          <a:ln w="9525">
            <a:noFill/>
          </a:ln>
          <a:effectLst>
            <a:innerShdw blurRad="114300">
              <a:prstClr val="black">
                <a:alpha val="27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tx1"/>
              </a:solidFill>
            </a:endParaRPr>
          </a:p>
        </p:txBody>
      </p:sp>
      <p:sp>
        <p:nvSpPr>
          <p:cNvPr id="17" name="Rectangle: Rounded Corners 40">
            <a:extLst>
              <a:ext uri="{FF2B5EF4-FFF2-40B4-BE49-F238E27FC236}">
                <a16:creationId xmlns:a16="http://schemas.microsoft.com/office/drawing/2014/main" id="{D883D4B2-3342-8E4E-A5A4-95B14AD2CD93}"/>
              </a:ext>
            </a:extLst>
          </p:cNvPr>
          <p:cNvSpPr/>
          <p:nvPr/>
        </p:nvSpPr>
        <p:spPr>
          <a:xfrm>
            <a:off x="6082742" y="2727507"/>
            <a:ext cx="1486338" cy="884081"/>
          </a:xfrm>
          <a:prstGeom prst="roundRect">
            <a:avLst>
              <a:gd name="adj" fmla="val 5303"/>
            </a:avLst>
          </a:prstGeom>
          <a:solidFill>
            <a:srgbClr val="FFFFFF"/>
          </a:solidFill>
          <a:ln w="9525">
            <a:noFill/>
          </a:ln>
          <a:effectLst>
            <a:innerShdw blurRad="114300">
              <a:prstClr val="black">
                <a:alpha val="27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tx1"/>
              </a:solidFill>
            </a:endParaRPr>
          </a:p>
        </p:txBody>
      </p:sp>
      <p:sp>
        <p:nvSpPr>
          <p:cNvPr id="18" name="Rectangle: Rounded Corners 41">
            <a:extLst>
              <a:ext uri="{FF2B5EF4-FFF2-40B4-BE49-F238E27FC236}">
                <a16:creationId xmlns:a16="http://schemas.microsoft.com/office/drawing/2014/main" id="{6F244B35-3058-2E4E-9989-458D8C4381B0}"/>
              </a:ext>
            </a:extLst>
          </p:cNvPr>
          <p:cNvSpPr/>
          <p:nvPr/>
        </p:nvSpPr>
        <p:spPr>
          <a:xfrm>
            <a:off x="8662803" y="2727507"/>
            <a:ext cx="1486338" cy="884081"/>
          </a:xfrm>
          <a:prstGeom prst="roundRect">
            <a:avLst>
              <a:gd name="adj" fmla="val 5303"/>
            </a:avLst>
          </a:prstGeom>
          <a:solidFill>
            <a:srgbClr val="FFFFFF"/>
          </a:solidFill>
          <a:ln w="9525">
            <a:noFill/>
          </a:ln>
          <a:effectLst>
            <a:innerShdw blurRad="114300">
              <a:prstClr val="black">
                <a:alpha val="27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tx1"/>
              </a:solidFill>
            </a:endParaRPr>
          </a:p>
        </p:txBody>
      </p:sp>
      <p:sp>
        <p:nvSpPr>
          <p:cNvPr id="19" name="Rectangle: Rounded Corners 50">
            <a:extLst>
              <a:ext uri="{FF2B5EF4-FFF2-40B4-BE49-F238E27FC236}">
                <a16:creationId xmlns:a16="http://schemas.microsoft.com/office/drawing/2014/main" id="{BE1F873A-3E45-6740-B75A-6245E3DD5D8F}"/>
              </a:ext>
            </a:extLst>
          </p:cNvPr>
          <p:cNvSpPr/>
          <p:nvPr/>
        </p:nvSpPr>
        <p:spPr>
          <a:xfrm>
            <a:off x="2212651" y="5236137"/>
            <a:ext cx="1486338" cy="884081"/>
          </a:xfrm>
          <a:prstGeom prst="roundRect">
            <a:avLst>
              <a:gd name="adj" fmla="val 5303"/>
            </a:avLst>
          </a:prstGeom>
          <a:solidFill>
            <a:srgbClr val="FFFFFF"/>
          </a:solidFill>
          <a:ln w="9525">
            <a:noFill/>
          </a:ln>
          <a:effectLst>
            <a:innerShdw blurRad="114300">
              <a:prstClr val="black">
                <a:alpha val="27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tx1"/>
              </a:solidFill>
            </a:endParaRPr>
          </a:p>
        </p:txBody>
      </p:sp>
      <p:sp>
        <p:nvSpPr>
          <p:cNvPr id="20" name="Rectangle: Rounded Corners 51">
            <a:extLst>
              <a:ext uri="{FF2B5EF4-FFF2-40B4-BE49-F238E27FC236}">
                <a16:creationId xmlns:a16="http://schemas.microsoft.com/office/drawing/2014/main" id="{C32354AA-AD67-4147-B396-2BFA3885F8C6}"/>
              </a:ext>
            </a:extLst>
          </p:cNvPr>
          <p:cNvSpPr/>
          <p:nvPr/>
        </p:nvSpPr>
        <p:spPr>
          <a:xfrm>
            <a:off x="4792711" y="5236137"/>
            <a:ext cx="1486338" cy="884081"/>
          </a:xfrm>
          <a:prstGeom prst="roundRect">
            <a:avLst>
              <a:gd name="adj" fmla="val 5303"/>
            </a:avLst>
          </a:prstGeom>
          <a:solidFill>
            <a:srgbClr val="FFFFFF"/>
          </a:solidFill>
          <a:ln w="9525">
            <a:noFill/>
          </a:ln>
          <a:effectLst>
            <a:innerShdw blurRad="114300">
              <a:prstClr val="black">
                <a:alpha val="27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tx1"/>
              </a:solidFill>
            </a:endParaRPr>
          </a:p>
        </p:txBody>
      </p:sp>
      <p:sp>
        <p:nvSpPr>
          <p:cNvPr id="21" name="Rectangle: Rounded Corners 52">
            <a:extLst>
              <a:ext uri="{FF2B5EF4-FFF2-40B4-BE49-F238E27FC236}">
                <a16:creationId xmlns:a16="http://schemas.microsoft.com/office/drawing/2014/main" id="{3D284D0E-4A05-6743-BF4B-952234155EBE}"/>
              </a:ext>
            </a:extLst>
          </p:cNvPr>
          <p:cNvSpPr/>
          <p:nvPr/>
        </p:nvSpPr>
        <p:spPr>
          <a:xfrm>
            <a:off x="7372773" y="5236137"/>
            <a:ext cx="1486338" cy="884081"/>
          </a:xfrm>
          <a:prstGeom prst="roundRect">
            <a:avLst>
              <a:gd name="adj" fmla="val 5303"/>
            </a:avLst>
          </a:prstGeom>
          <a:solidFill>
            <a:srgbClr val="FFFFFF"/>
          </a:solidFill>
          <a:ln w="9525">
            <a:noFill/>
          </a:ln>
          <a:effectLst>
            <a:innerShdw blurRad="114300">
              <a:prstClr val="black">
                <a:alpha val="27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tx1"/>
              </a:solidFill>
            </a:endParaRPr>
          </a:p>
        </p:txBody>
      </p:sp>
      <p:sp>
        <p:nvSpPr>
          <p:cNvPr id="22" name="Rectangle: Rounded Corners 46">
            <a:extLst>
              <a:ext uri="{FF2B5EF4-FFF2-40B4-BE49-F238E27FC236}">
                <a16:creationId xmlns:a16="http://schemas.microsoft.com/office/drawing/2014/main" id="{13524BF0-D8A4-A94C-A7DB-06B9CE305970}"/>
              </a:ext>
            </a:extLst>
          </p:cNvPr>
          <p:cNvSpPr/>
          <p:nvPr/>
        </p:nvSpPr>
        <p:spPr>
          <a:xfrm>
            <a:off x="922620" y="3854822"/>
            <a:ext cx="1486338" cy="884081"/>
          </a:xfrm>
          <a:prstGeom prst="roundRect">
            <a:avLst>
              <a:gd name="adj" fmla="val 5303"/>
            </a:avLst>
          </a:prstGeom>
          <a:solidFill>
            <a:srgbClr val="FFFFFF"/>
          </a:solidFill>
          <a:ln w="9525">
            <a:noFill/>
          </a:ln>
          <a:effectLst>
            <a:innerShdw blurRad="114300">
              <a:prstClr val="black">
                <a:alpha val="27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tx1"/>
              </a:solidFill>
            </a:endParaRPr>
          </a:p>
        </p:txBody>
      </p:sp>
      <p:sp>
        <p:nvSpPr>
          <p:cNvPr id="23" name="Rectangle: Rounded Corners 47">
            <a:extLst>
              <a:ext uri="{FF2B5EF4-FFF2-40B4-BE49-F238E27FC236}">
                <a16:creationId xmlns:a16="http://schemas.microsoft.com/office/drawing/2014/main" id="{C542B08F-6AA9-D04B-873B-3E5212E73EC6}"/>
              </a:ext>
            </a:extLst>
          </p:cNvPr>
          <p:cNvSpPr/>
          <p:nvPr/>
        </p:nvSpPr>
        <p:spPr>
          <a:xfrm>
            <a:off x="8662803" y="3854822"/>
            <a:ext cx="1486338" cy="884081"/>
          </a:xfrm>
          <a:prstGeom prst="roundRect">
            <a:avLst>
              <a:gd name="adj" fmla="val 5303"/>
            </a:avLst>
          </a:prstGeom>
          <a:solidFill>
            <a:srgbClr val="FFFFFF"/>
          </a:solidFill>
          <a:ln w="9525">
            <a:noFill/>
          </a:ln>
          <a:effectLst>
            <a:innerShdw blurRad="114300">
              <a:prstClr val="black">
                <a:alpha val="27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tx1"/>
              </a:solidFill>
            </a:endParaRPr>
          </a:p>
        </p:txBody>
      </p:sp>
      <p:pic>
        <p:nvPicPr>
          <p:cNvPr id="24" name="Picture 23">
            <a:extLst>
              <a:ext uri="{FF2B5EF4-FFF2-40B4-BE49-F238E27FC236}">
                <a16:creationId xmlns:a16="http://schemas.microsoft.com/office/drawing/2014/main" id="{A7E9AEB1-0CD9-9640-8C8A-DF71F321D7E1}"/>
              </a:ext>
            </a:extLst>
          </p:cNvPr>
          <p:cNvPicPr>
            <a:picLocks noChangeAspect="1"/>
          </p:cNvPicPr>
          <p:nvPr/>
        </p:nvPicPr>
        <p:blipFill>
          <a:blip r:embed="rId3"/>
          <a:stretch>
            <a:fillRect/>
          </a:stretch>
        </p:blipFill>
        <p:spPr>
          <a:xfrm>
            <a:off x="1207224" y="2831619"/>
            <a:ext cx="1131583" cy="357580"/>
          </a:xfrm>
          <a:prstGeom prst="rect">
            <a:avLst/>
          </a:prstGeom>
        </p:spPr>
      </p:pic>
      <p:pic>
        <p:nvPicPr>
          <p:cNvPr id="25" name="Picture 24">
            <a:extLst>
              <a:ext uri="{FF2B5EF4-FFF2-40B4-BE49-F238E27FC236}">
                <a16:creationId xmlns:a16="http://schemas.microsoft.com/office/drawing/2014/main" id="{931116DD-8D2D-8E43-B652-D31DAF48292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680454" y="2806138"/>
            <a:ext cx="1264744" cy="486440"/>
          </a:xfrm>
          <a:prstGeom prst="rect">
            <a:avLst/>
          </a:prstGeom>
        </p:spPr>
      </p:pic>
      <p:pic>
        <p:nvPicPr>
          <p:cNvPr id="26" name="Picture 25">
            <a:extLst>
              <a:ext uri="{FF2B5EF4-FFF2-40B4-BE49-F238E27FC236}">
                <a16:creationId xmlns:a16="http://schemas.microsoft.com/office/drawing/2014/main" id="{DAB5B21E-A2FF-2D4A-8ECC-952253A5CFAC}"/>
              </a:ext>
            </a:extLst>
          </p:cNvPr>
          <p:cNvPicPr>
            <a:picLocks noChangeAspect="1"/>
          </p:cNvPicPr>
          <p:nvPr/>
        </p:nvPicPr>
        <p:blipFill>
          <a:blip r:embed="rId5"/>
          <a:stretch>
            <a:fillRect/>
          </a:stretch>
        </p:blipFill>
        <p:spPr>
          <a:xfrm>
            <a:off x="6393493" y="2787564"/>
            <a:ext cx="1098989" cy="580365"/>
          </a:xfrm>
          <a:prstGeom prst="rect">
            <a:avLst/>
          </a:prstGeom>
        </p:spPr>
      </p:pic>
      <p:pic>
        <p:nvPicPr>
          <p:cNvPr id="27" name="Picture 26">
            <a:extLst>
              <a:ext uri="{FF2B5EF4-FFF2-40B4-BE49-F238E27FC236}">
                <a16:creationId xmlns:a16="http://schemas.microsoft.com/office/drawing/2014/main" id="{EB229696-D6BB-BF4E-99F8-50D363E908BE}"/>
              </a:ext>
            </a:extLst>
          </p:cNvPr>
          <p:cNvPicPr>
            <a:picLocks noChangeAspect="1"/>
          </p:cNvPicPr>
          <p:nvPr/>
        </p:nvPicPr>
        <p:blipFill>
          <a:blip r:embed="rId6"/>
          <a:stretch>
            <a:fillRect/>
          </a:stretch>
        </p:blipFill>
        <p:spPr>
          <a:xfrm>
            <a:off x="8966350" y="2787564"/>
            <a:ext cx="1107969" cy="580365"/>
          </a:xfrm>
          <a:prstGeom prst="rect">
            <a:avLst/>
          </a:prstGeom>
        </p:spPr>
      </p:pic>
      <p:pic>
        <p:nvPicPr>
          <p:cNvPr id="28" name="Picture 27">
            <a:extLst>
              <a:ext uri="{FF2B5EF4-FFF2-40B4-BE49-F238E27FC236}">
                <a16:creationId xmlns:a16="http://schemas.microsoft.com/office/drawing/2014/main" id="{0D28E4B9-A9F6-EF44-84CA-6C7C44E71315}"/>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l="7401" t="28508" r="11609" b="20697"/>
          <a:stretch/>
        </p:blipFill>
        <p:spPr>
          <a:xfrm>
            <a:off x="1464399" y="3929061"/>
            <a:ext cx="811016" cy="508647"/>
          </a:xfrm>
          <a:prstGeom prst="rect">
            <a:avLst/>
          </a:prstGeom>
        </p:spPr>
      </p:pic>
      <p:pic>
        <p:nvPicPr>
          <p:cNvPr id="29" name="Picture 28">
            <a:extLst>
              <a:ext uri="{FF2B5EF4-FFF2-40B4-BE49-F238E27FC236}">
                <a16:creationId xmlns:a16="http://schemas.microsoft.com/office/drawing/2014/main" id="{01F4DE65-7FCE-6A4F-B4A4-4AD893F629FB}"/>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806308" y="3959397"/>
            <a:ext cx="1107869" cy="355235"/>
          </a:xfrm>
          <a:prstGeom prst="rect">
            <a:avLst/>
          </a:prstGeom>
        </p:spPr>
      </p:pic>
      <p:pic>
        <p:nvPicPr>
          <p:cNvPr id="30" name="Picture 29">
            <a:extLst>
              <a:ext uri="{FF2B5EF4-FFF2-40B4-BE49-F238E27FC236}">
                <a16:creationId xmlns:a16="http://schemas.microsoft.com/office/drawing/2014/main" id="{91C1B9EE-E0B6-F249-8CB2-0BF77ADEAF78}"/>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482589" y="3937435"/>
            <a:ext cx="987932" cy="466304"/>
          </a:xfrm>
          <a:prstGeom prst="rect">
            <a:avLst/>
          </a:prstGeom>
        </p:spPr>
      </p:pic>
      <p:pic>
        <p:nvPicPr>
          <p:cNvPr id="31" name="Picture 30">
            <a:extLst>
              <a:ext uri="{FF2B5EF4-FFF2-40B4-BE49-F238E27FC236}">
                <a16:creationId xmlns:a16="http://schemas.microsoft.com/office/drawing/2014/main" id="{2D77561B-74DF-B946-987E-4DAB7B03E7DA}"/>
              </a:ext>
            </a:extLst>
          </p:cNvPr>
          <p:cNvPicPr>
            <a:picLocks noChangeAspect="1"/>
          </p:cNvPicPr>
          <p:nvPr/>
        </p:nvPicPr>
        <p:blipFill rotWithShape="1">
          <a:blip r:embed="rId10"/>
          <a:srcRect l="11496" t="39910" r="10707" b="38298"/>
          <a:stretch/>
        </p:blipFill>
        <p:spPr>
          <a:xfrm>
            <a:off x="8863443" y="3980949"/>
            <a:ext cx="1236241" cy="246247"/>
          </a:xfrm>
          <a:prstGeom prst="rect">
            <a:avLst/>
          </a:prstGeom>
        </p:spPr>
      </p:pic>
      <p:pic>
        <p:nvPicPr>
          <p:cNvPr id="32" name="Picture 31">
            <a:extLst>
              <a:ext uri="{FF2B5EF4-FFF2-40B4-BE49-F238E27FC236}">
                <a16:creationId xmlns:a16="http://schemas.microsoft.com/office/drawing/2014/main" id="{5C4C7AA6-CB19-CF4A-B7DA-2F8B4A4E82EC}"/>
              </a:ext>
            </a:extLst>
          </p:cNvPr>
          <p:cNvPicPr>
            <a:picLocks noChangeAspect="1"/>
          </p:cNvPicPr>
          <p:nvPr/>
        </p:nvPicPr>
        <p:blipFill rotWithShape="1">
          <a:blip r:embed="rId11"/>
          <a:srcRect l="5316" t="10778" r="5700" b="8118"/>
          <a:stretch/>
        </p:blipFill>
        <p:spPr>
          <a:xfrm>
            <a:off x="2329961" y="5303376"/>
            <a:ext cx="1340110" cy="544051"/>
          </a:xfrm>
          <a:prstGeom prst="rect">
            <a:avLst/>
          </a:prstGeom>
        </p:spPr>
      </p:pic>
      <p:pic>
        <p:nvPicPr>
          <p:cNvPr id="33" name="Picture 32">
            <a:extLst>
              <a:ext uri="{FF2B5EF4-FFF2-40B4-BE49-F238E27FC236}">
                <a16:creationId xmlns:a16="http://schemas.microsoft.com/office/drawing/2014/main" id="{6F1B7337-4AE0-A94E-BDF0-66BB960BE1FC}"/>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065785" y="5346213"/>
            <a:ext cx="1145955" cy="327415"/>
          </a:xfrm>
          <a:prstGeom prst="rect">
            <a:avLst/>
          </a:prstGeom>
        </p:spPr>
      </p:pic>
      <p:pic>
        <p:nvPicPr>
          <p:cNvPr id="34" name="Picture 33">
            <a:extLst>
              <a:ext uri="{FF2B5EF4-FFF2-40B4-BE49-F238E27FC236}">
                <a16:creationId xmlns:a16="http://schemas.microsoft.com/office/drawing/2014/main" id="{CD7E3533-3BAF-894B-ACB6-74528FDC699A}"/>
              </a:ext>
            </a:extLst>
          </p:cNvPr>
          <p:cNvPicPr>
            <a:picLocks noChangeAspect="1"/>
          </p:cNvPicPr>
          <p:nvPr/>
        </p:nvPicPr>
        <p:blipFill rotWithShape="1">
          <a:blip r:embed="rId13"/>
          <a:srcRect t="24526" b="33415"/>
          <a:stretch/>
        </p:blipFill>
        <p:spPr>
          <a:xfrm>
            <a:off x="7732000" y="5324581"/>
            <a:ext cx="1038565" cy="436816"/>
          </a:xfrm>
          <a:prstGeom prst="rect">
            <a:avLst/>
          </a:prstGeom>
        </p:spPr>
      </p:pic>
      <p:sp>
        <p:nvSpPr>
          <p:cNvPr id="2" name="Title 1">
            <a:extLst>
              <a:ext uri="{FF2B5EF4-FFF2-40B4-BE49-F238E27FC236}">
                <a16:creationId xmlns:a16="http://schemas.microsoft.com/office/drawing/2014/main" id="{D40D93BB-A5C1-8848-84DD-8E82A6070635}"/>
              </a:ext>
            </a:extLst>
          </p:cNvPr>
          <p:cNvSpPr>
            <a:spLocks noGrp="1"/>
          </p:cNvSpPr>
          <p:nvPr>
            <p:ph type="ctrTitle"/>
          </p:nvPr>
        </p:nvSpPr>
        <p:spPr>
          <a:xfrm>
            <a:off x="519381" y="188664"/>
            <a:ext cx="7741750" cy="1309005"/>
          </a:xfrm>
        </p:spPr>
        <p:txBody>
          <a:bodyPr anchor="ctr">
            <a:normAutofit/>
          </a:bodyPr>
          <a:lstStyle/>
          <a:p>
            <a:r>
              <a:rPr lang="es-ES" sz="3200" dirty="0">
                <a:solidFill>
                  <a:schemeClr val="bg2"/>
                </a:solidFill>
              </a:rPr>
              <a:t>El trabajo aún no se ha acabado…</a:t>
            </a:r>
          </a:p>
        </p:txBody>
      </p:sp>
      <p:sp>
        <p:nvSpPr>
          <p:cNvPr id="3" name="Subtitle 2">
            <a:extLst>
              <a:ext uri="{FF2B5EF4-FFF2-40B4-BE49-F238E27FC236}">
                <a16:creationId xmlns:a16="http://schemas.microsoft.com/office/drawing/2014/main" id="{D6768798-09FA-D74B-9A29-448FCC8F6853}"/>
              </a:ext>
            </a:extLst>
          </p:cNvPr>
          <p:cNvSpPr>
            <a:spLocks noGrp="1"/>
          </p:cNvSpPr>
          <p:nvPr>
            <p:ph type="subTitle" idx="1"/>
          </p:nvPr>
        </p:nvSpPr>
        <p:spPr>
          <a:xfrm>
            <a:off x="354281" y="1825807"/>
            <a:ext cx="10363201" cy="936142"/>
          </a:xfrm>
          <a:solidFill>
            <a:schemeClr val="bg1"/>
          </a:solidFill>
          <a:ln>
            <a:solidFill>
              <a:srgbClr val="EA5D0A"/>
            </a:solidFill>
          </a:ln>
        </p:spPr>
        <p:txBody>
          <a:bodyPr>
            <a:noAutofit/>
          </a:bodyPr>
          <a:lstStyle/>
          <a:p>
            <a:pPr>
              <a:buFont typeface="Arial" panose="020B0604020202020204" pitchFamily="34" charset="0"/>
              <a:buChar char="•"/>
            </a:pPr>
            <a:r>
              <a:rPr lang="es-ES" sz="2400" dirty="0">
                <a:solidFill>
                  <a:schemeClr val="bg2"/>
                </a:solidFill>
              </a:rPr>
              <a:t>Cual es la frecuencia de la población que se busca? Hay muchos pacientes con estos características….pocos?</a:t>
            </a:r>
          </a:p>
        </p:txBody>
      </p:sp>
      <p:pic>
        <p:nvPicPr>
          <p:cNvPr id="4" name="Imagen 4" descr="logo-medsir.ai">
            <a:extLst>
              <a:ext uri="{FF2B5EF4-FFF2-40B4-BE49-F238E27FC236}">
                <a16:creationId xmlns:a16="http://schemas.microsoft.com/office/drawing/2014/main" id="{E3F61D91-CE34-D047-B515-182CB45E44CE}"/>
              </a:ext>
            </a:extLst>
          </p:cNvPr>
          <p:cNvPicPr>
            <a:picLocks noChangeAspect="1"/>
          </p:cNvPicPr>
          <p:nvPr/>
        </p:nvPicPr>
        <p:blipFill rotWithShape="1">
          <a:blip r:embed="rId14">
            <a:extLst>
              <a:ext uri="{28A0092B-C50C-407E-A947-70E740481C1C}">
                <a14:useLocalDpi xmlns:a14="http://schemas.microsoft.com/office/drawing/2010/main" val="0"/>
              </a:ext>
            </a:extLst>
          </a:blip>
          <a:srcRect l="15499" t="26323" r="18614" b="24095"/>
          <a:stretch/>
        </p:blipFill>
        <p:spPr>
          <a:xfrm>
            <a:off x="10151661" y="367262"/>
            <a:ext cx="1789908" cy="951810"/>
          </a:xfrm>
          <a:prstGeom prst="rect">
            <a:avLst/>
          </a:prstGeom>
        </p:spPr>
      </p:pic>
      <p:sp>
        <p:nvSpPr>
          <p:cNvPr id="5" name="Subtitle 2">
            <a:extLst>
              <a:ext uri="{FF2B5EF4-FFF2-40B4-BE49-F238E27FC236}">
                <a16:creationId xmlns:a16="http://schemas.microsoft.com/office/drawing/2014/main" id="{1642C4D2-55D0-874E-8D32-A6B9B81DE902}"/>
              </a:ext>
            </a:extLst>
          </p:cNvPr>
          <p:cNvSpPr txBox="1">
            <a:spLocks/>
          </p:cNvSpPr>
          <p:nvPr/>
        </p:nvSpPr>
        <p:spPr>
          <a:xfrm>
            <a:off x="354281" y="3422958"/>
            <a:ext cx="10363201" cy="468070"/>
          </a:xfrm>
          <a:prstGeom prst="rect">
            <a:avLst/>
          </a:prstGeom>
          <a:solidFill>
            <a:schemeClr val="bg1"/>
          </a:solidFill>
          <a:ln>
            <a:solidFill>
              <a:srgbClr val="EA5D0A"/>
            </a:solidFill>
          </a:ln>
        </p:spPr>
        <p:txBody>
          <a:bodyPr vert="horz" wrap="square" lIns="0" tIns="0" rIns="0" bIns="0" rtlCol="0">
            <a:noAutofit/>
          </a:bodyPr>
          <a:lstStyle>
            <a:lvl1pPr marL="285750" indent="-285750" algn="l" defTabSz="914400" rtl="0" eaLnBrk="1" latinLnBrk="0" hangingPunct="1">
              <a:lnSpc>
                <a:spcPct val="120000"/>
              </a:lnSpc>
              <a:spcBef>
                <a:spcPts val="1000"/>
              </a:spcBef>
              <a:buClr>
                <a:schemeClr val="tx1"/>
              </a:buClr>
              <a:buFontTx/>
              <a:buBlip>
                <a:blip r:embed="rId15"/>
              </a:buBlip>
              <a:defRPr sz="1800" b="0" i="0" kern="1200" baseline="0">
                <a:solidFill>
                  <a:schemeClr val="tx1">
                    <a:lumMod val="65000"/>
                    <a:lumOff val="35000"/>
                  </a:schemeClr>
                </a:solidFill>
                <a:latin typeface="+mn-lt"/>
                <a:ea typeface="+mn-ea"/>
                <a:cs typeface="Roboto Regular"/>
              </a:defRPr>
            </a:lvl1pPr>
            <a:lvl2pPr marL="457200" indent="0" algn="ctr" defTabSz="914400" rtl="0" eaLnBrk="1" latinLnBrk="0" hangingPunct="1">
              <a:lnSpc>
                <a:spcPct val="90000"/>
              </a:lnSpc>
              <a:spcBef>
                <a:spcPts val="500"/>
              </a:spcBef>
              <a:buClr>
                <a:schemeClr val="tx1"/>
              </a:buClr>
              <a:buFont typeface="Segoe UI Light" panose="020B0502040204020203" pitchFamily="34" charset="0"/>
              <a:buNone/>
              <a:defRPr sz="1400" kern="1200">
                <a:solidFill>
                  <a:schemeClr val="tx1">
                    <a:tint val="75000"/>
                  </a:schemeClr>
                </a:solidFill>
                <a:latin typeface="+mn-lt"/>
                <a:ea typeface="+mn-ea"/>
                <a:cs typeface="+mn-cs"/>
              </a:defRPr>
            </a:lvl2pPr>
            <a:lvl3pPr marL="914400" indent="0" algn="ctr" defTabSz="914400" rtl="0" eaLnBrk="1" latinLnBrk="0" hangingPunct="1">
              <a:lnSpc>
                <a:spcPct val="90000"/>
              </a:lnSpc>
              <a:spcBef>
                <a:spcPts val="500"/>
              </a:spcBef>
              <a:buClr>
                <a:schemeClr val="tx1"/>
              </a:buClr>
              <a:buSzPct val="75000"/>
              <a:buFont typeface="Courier New" panose="02070309020205020404" pitchFamily="49" charset="0"/>
              <a:buNone/>
              <a:tabLst>
                <a:tab pos="841375" algn="l"/>
              </a:tabLst>
              <a:defRPr sz="1400" kern="1200">
                <a:solidFill>
                  <a:schemeClr val="tx1">
                    <a:tint val="75000"/>
                  </a:schemeClr>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a:buFont typeface="Arial" panose="020B0604020202020204" pitchFamily="34" charset="0"/>
              <a:buChar char="•"/>
            </a:pPr>
            <a:r>
              <a:rPr lang="es-ES" sz="2400" dirty="0">
                <a:solidFill>
                  <a:schemeClr val="bg2"/>
                </a:solidFill>
              </a:rPr>
              <a:t>Cuantos centros necesitamos para reclutar a estas 120 pacientes?</a:t>
            </a:r>
          </a:p>
        </p:txBody>
      </p:sp>
      <p:sp>
        <p:nvSpPr>
          <p:cNvPr id="6" name="Subtitle 2">
            <a:extLst>
              <a:ext uri="{FF2B5EF4-FFF2-40B4-BE49-F238E27FC236}">
                <a16:creationId xmlns:a16="http://schemas.microsoft.com/office/drawing/2014/main" id="{B3078C6C-F9BE-2D44-8EE9-A1E146AC1DFA}"/>
              </a:ext>
            </a:extLst>
          </p:cNvPr>
          <p:cNvSpPr txBox="1">
            <a:spLocks/>
          </p:cNvSpPr>
          <p:nvPr/>
        </p:nvSpPr>
        <p:spPr>
          <a:xfrm>
            <a:off x="354281" y="4458230"/>
            <a:ext cx="10363201" cy="920138"/>
          </a:xfrm>
          <a:prstGeom prst="rect">
            <a:avLst/>
          </a:prstGeom>
          <a:solidFill>
            <a:schemeClr val="bg1"/>
          </a:solidFill>
          <a:ln>
            <a:solidFill>
              <a:srgbClr val="EA5D0A"/>
            </a:solidFill>
          </a:ln>
        </p:spPr>
        <p:txBody>
          <a:bodyPr vert="horz" wrap="square" lIns="0" tIns="0" rIns="0" bIns="0" rtlCol="0">
            <a:noAutofit/>
          </a:bodyPr>
          <a:lstStyle>
            <a:lvl1pPr marL="285750" indent="-285750" algn="l" defTabSz="914400" rtl="0" eaLnBrk="1" latinLnBrk="0" hangingPunct="1">
              <a:lnSpc>
                <a:spcPct val="120000"/>
              </a:lnSpc>
              <a:spcBef>
                <a:spcPts val="1000"/>
              </a:spcBef>
              <a:buClr>
                <a:schemeClr val="tx1"/>
              </a:buClr>
              <a:buFontTx/>
              <a:buBlip>
                <a:blip r:embed="rId15"/>
              </a:buBlip>
              <a:defRPr sz="1800" b="0" i="0" kern="1200" baseline="0">
                <a:solidFill>
                  <a:schemeClr val="tx1">
                    <a:lumMod val="65000"/>
                    <a:lumOff val="35000"/>
                  </a:schemeClr>
                </a:solidFill>
                <a:latin typeface="+mn-lt"/>
                <a:ea typeface="+mn-ea"/>
                <a:cs typeface="Roboto Regular"/>
              </a:defRPr>
            </a:lvl1pPr>
            <a:lvl2pPr marL="457200" indent="0" algn="ctr" defTabSz="914400" rtl="0" eaLnBrk="1" latinLnBrk="0" hangingPunct="1">
              <a:lnSpc>
                <a:spcPct val="90000"/>
              </a:lnSpc>
              <a:spcBef>
                <a:spcPts val="500"/>
              </a:spcBef>
              <a:buClr>
                <a:schemeClr val="tx1"/>
              </a:buClr>
              <a:buFont typeface="Segoe UI Light" panose="020B0502040204020203" pitchFamily="34" charset="0"/>
              <a:buNone/>
              <a:defRPr sz="1400" kern="1200">
                <a:solidFill>
                  <a:schemeClr val="tx1">
                    <a:tint val="75000"/>
                  </a:schemeClr>
                </a:solidFill>
                <a:latin typeface="+mn-lt"/>
                <a:ea typeface="+mn-ea"/>
                <a:cs typeface="+mn-cs"/>
              </a:defRPr>
            </a:lvl2pPr>
            <a:lvl3pPr marL="914400" indent="0" algn="ctr" defTabSz="914400" rtl="0" eaLnBrk="1" latinLnBrk="0" hangingPunct="1">
              <a:lnSpc>
                <a:spcPct val="90000"/>
              </a:lnSpc>
              <a:spcBef>
                <a:spcPts val="500"/>
              </a:spcBef>
              <a:buClr>
                <a:schemeClr val="tx1"/>
              </a:buClr>
              <a:buSzPct val="75000"/>
              <a:buFont typeface="Courier New" panose="02070309020205020404" pitchFamily="49" charset="0"/>
              <a:buNone/>
              <a:tabLst>
                <a:tab pos="841375" algn="l"/>
              </a:tabLst>
              <a:defRPr sz="1400" kern="1200">
                <a:solidFill>
                  <a:schemeClr val="tx1">
                    <a:tint val="75000"/>
                  </a:schemeClr>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a:buFont typeface="Arial" panose="020B0604020202020204" pitchFamily="34" charset="0"/>
              <a:buChar char="•"/>
            </a:pPr>
            <a:r>
              <a:rPr lang="es-ES" sz="2400" dirty="0">
                <a:solidFill>
                  <a:schemeClr val="bg2"/>
                </a:solidFill>
              </a:rPr>
              <a:t>Existen estas 120 pacientes en España? Cuanto tiempo tardaremos en encontrarlas? Hay que ir a otros países? </a:t>
            </a:r>
          </a:p>
        </p:txBody>
      </p:sp>
      <p:sp>
        <p:nvSpPr>
          <p:cNvPr id="7" name="Subtitle 2">
            <a:extLst>
              <a:ext uri="{FF2B5EF4-FFF2-40B4-BE49-F238E27FC236}">
                <a16:creationId xmlns:a16="http://schemas.microsoft.com/office/drawing/2014/main" id="{836C563D-1BAA-1948-8508-0326F21E87B5}"/>
              </a:ext>
            </a:extLst>
          </p:cNvPr>
          <p:cNvSpPr txBox="1">
            <a:spLocks/>
          </p:cNvSpPr>
          <p:nvPr/>
        </p:nvSpPr>
        <p:spPr>
          <a:xfrm>
            <a:off x="354281" y="5892459"/>
            <a:ext cx="10363201" cy="468070"/>
          </a:xfrm>
          <a:prstGeom prst="rect">
            <a:avLst/>
          </a:prstGeom>
          <a:solidFill>
            <a:schemeClr val="bg1"/>
          </a:solidFill>
          <a:ln>
            <a:solidFill>
              <a:srgbClr val="EA5D0A"/>
            </a:solidFill>
          </a:ln>
        </p:spPr>
        <p:txBody>
          <a:bodyPr vert="horz" wrap="square" lIns="0" tIns="0" rIns="0" bIns="0" rtlCol="0">
            <a:normAutofit/>
          </a:bodyPr>
          <a:lstStyle>
            <a:lvl1pPr marL="285750" indent="-285750" algn="l" defTabSz="914400" rtl="0" eaLnBrk="1" latinLnBrk="0" hangingPunct="1">
              <a:lnSpc>
                <a:spcPct val="120000"/>
              </a:lnSpc>
              <a:spcBef>
                <a:spcPts val="1000"/>
              </a:spcBef>
              <a:buClr>
                <a:schemeClr val="tx1"/>
              </a:buClr>
              <a:buFontTx/>
              <a:buBlip>
                <a:blip r:embed="rId15"/>
              </a:buBlip>
              <a:defRPr sz="1800" b="0" i="0" kern="1200" baseline="0">
                <a:solidFill>
                  <a:schemeClr val="tx1">
                    <a:lumMod val="65000"/>
                    <a:lumOff val="35000"/>
                  </a:schemeClr>
                </a:solidFill>
                <a:latin typeface="+mn-lt"/>
                <a:ea typeface="+mn-ea"/>
                <a:cs typeface="Roboto Regular"/>
              </a:defRPr>
            </a:lvl1pPr>
            <a:lvl2pPr marL="457200" indent="0" algn="ctr" defTabSz="914400" rtl="0" eaLnBrk="1" latinLnBrk="0" hangingPunct="1">
              <a:lnSpc>
                <a:spcPct val="90000"/>
              </a:lnSpc>
              <a:spcBef>
                <a:spcPts val="500"/>
              </a:spcBef>
              <a:buClr>
                <a:schemeClr val="tx1"/>
              </a:buClr>
              <a:buFont typeface="Segoe UI Light" panose="020B0502040204020203" pitchFamily="34" charset="0"/>
              <a:buNone/>
              <a:defRPr sz="1400" kern="1200">
                <a:solidFill>
                  <a:schemeClr val="tx1">
                    <a:tint val="75000"/>
                  </a:schemeClr>
                </a:solidFill>
                <a:latin typeface="+mn-lt"/>
                <a:ea typeface="+mn-ea"/>
                <a:cs typeface="+mn-cs"/>
              </a:defRPr>
            </a:lvl2pPr>
            <a:lvl3pPr marL="914400" indent="0" algn="ctr" defTabSz="914400" rtl="0" eaLnBrk="1" latinLnBrk="0" hangingPunct="1">
              <a:lnSpc>
                <a:spcPct val="90000"/>
              </a:lnSpc>
              <a:spcBef>
                <a:spcPts val="500"/>
              </a:spcBef>
              <a:buClr>
                <a:schemeClr val="tx1"/>
              </a:buClr>
              <a:buSzPct val="75000"/>
              <a:buFont typeface="Courier New" panose="02070309020205020404" pitchFamily="49" charset="0"/>
              <a:buNone/>
              <a:tabLst>
                <a:tab pos="841375" algn="l"/>
              </a:tabLst>
              <a:defRPr sz="1400" kern="1200">
                <a:solidFill>
                  <a:schemeClr val="tx1">
                    <a:tint val="75000"/>
                  </a:schemeClr>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a:buFont typeface="Arial" panose="020B0604020202020204" pitchFamily="34" charset="0"/>
              <a:buChar char="•"/>
            </a:pPr>
            <a:r>
              <a:rPr lang="es-ES" sz="2400" dirty="0">
                <a:solidFill>
                  <a:schemeClr val="bg2"/>
                </a:solidFill>
              </a:rPr>
              <a:t>Coste…</a:t>
            </a:r>
          </a:p>
        </p:txBody>
      </p:sp>
      <p:sp>
        <p:nvSpPr>
          <p:cNvPr id="8" name="Oval 7">
            <a:extLst>
              <a:ext uri="{FF2B5EF4-FFF2-40B4-BE49-F238E27FC236}">
                <a16:creationId xmlns:a16="http://schemas.microsoft.com/office/drawing/2014/main" id="{238C7178-F060-D44A-86CE-E9A7A8029125}"/>
              </a:ext>
            </a:extLst>
          </p:cNvPr>
          <p:cNvSpPr/>
          <p:nvPr/>
        </p:nvSpPr>
        <p:spPr>
          <a:xfrm>
            <a:off x="9916753" y="139943"/>
            <a:ext cx="2259724" cy="1419419"/>
          </a:xfrm>
          <a:prstGeom prst="ellipse">
            <a:avLst/>
          </a:prstGeom>
          <a:noFill/>
          <a:ln w="28575">
            <a:solidFill>
              <a:srgbClr val="EA5D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38" name="Straight Arrow Connector 37">
            <a:extLst>
              <a:ext uri="{FF2B5EF4-FFF2-40B4-BE49-F238E27FC236}">
                <a16:creationId xmlns:a16="http://schemas.microsoft.com/office/drawing/2014/main" id="{23B61BFF-0D23-4C40-8687-C57399FFD97F}"/>
              </a:ext>
            </a:extLst>
          </p:cNvPr>
          <p:cNvCxnSpPr>
            <a:stCxn id="8" idx="2"/>
          </p:cNvCxnSpPr>
          <p:nvPr/>
        </p:nvCxnSpPr>
        <p:spPr>
          <a:xfrm flipH="1">
            <a:off x="5346700" y="849653"/>
            <a:ext cx="4570053" cy="877547"/>
          </a:xfrm>
          <a:prstGeom prst="straightConnector1">
            <a:avLst/>
          </a:prstGeom>
          <a:ln w="57150">
            <a:solidFill>
              <a:srgbClr val="EA5D0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94651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59098A9-E08B-4535-A8AA-190550956F28}"/>
              </a:ext>
            </a:extLst>
          </p:cNvPr>
          <p:cNvSpPr>
            <a:spLocks noGrp="1"/>
          </p:cNvSpPr>
          <p:nvPr>
            <p:ph type="title"/>
          </p:nvPr>
        </p:nvSpPr>
        <p:spPr>
          <a:xfrm>
            <a:off x="274297" y="513271"/>
            <a:ext cx="10571754" cy="430887"/>
          </a:xfrm>
        </p:spPr>
        <p:txBody>
          <a:bodyPr/>
          <a:lstStyle/>
          <a:p>
            <a:r>
              <a:rPr lang="en-US" dirty="0"/>
              <a:t>Y...</a:t>
            </a:r>
            <a:r>
              <a:rPr lang="en-US" dirty="0" err="1"/>
              <a:t>si</a:t>
            </a:r>
            <a:r>
              <a:rPr lang="en-US" dirty="0"/>
              <a:t> </a:t>
            </a:r>
            <a:r>
              <a:rPr lang="en-US" dirty="0" err="1"/>
              <a:t>todo</a:t>
            </a:r>
            <a:r>
              <a:rPr lang="en-US" dirty="0"/>
              <a:t> </a:t>
            </a:r>
            <a:r>
              <a:rPr lang="en-US" dirty="0" err="1"/>
              <a:t>bien</a:t>
            </a:r>
            <a:r>
              <a:rPr lang="en-US" dirty="0"/>
              <a:t>...</a:t>
            </a:r>
            <a:r>
              <a:rPr lang="en-US" dirty="0" err="1"/>
              <a:t>tendremos</a:t>
            </a:r>
            <a:r>
              <a:rPr lang="en-US" dirty="0"/>
              <a:t> un </a:t>
            </a:r>
            <a:r>
              <a:rPr lang="en-US" dirty="0" err="1"/>
              <a:t>estudio</a:t>
            </a:r>
            <a:r>
              <a:rPr lang="en-US" dirty="0"/>
              <a:t> que </a:t>
            </a:r>
            <a:r>
              <a:rPr lang="en-US" dirty="0" err="1"/>
              <a:t>impacta</a:t>
            </a:r>
            <a:r>
              <a:rPr lang="en-US" dirty="0"/>
              <a:t> </a:t>
            </a:r>
            <a:r>
              <a:rPr lang="en-US" dirty="0" err="1"/>
              <a:t>positivamente</a:t>
            </a:r>
            <a:r>
              <a:rPr lang="en-US" dirty="0"/>
              <a:t> </a:t>
            </a:r>
            <a:r>
              <a:rPr lang="en-US" dirty="0" err="1"/>
              <a:t>en</a:t>
            </a:r>
            <a:r>
              <a:rPr lang="en-US" dirty="0"/>
              <a:t>...</a:t>
            </a:r>
          </a:p>
        </p:txBody>
      </p:sp>
      <p:pic>
        <p:nvPicPr>
          <p:cNvPr id="8" name="Picture 7" descr="A person sitting on a table&#10;&#10;Description generated with high confidence">
            <a:extLst>
              <a:ext uri="{FF2B5EF4-FFF2-40B4-BE49-F238E27FC236}">
                <a16:creationId xmlns:a16="http://schemas.microsoft.com/office/drawing/2014/main" id="{41367738-792B-4765-92C6-D6FD2E48C73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t="19903" b="27249"/>
          <a:stretch/>
        </p:blipFill>
        <p:spPr>
          <a:xfrm>
            <a:off x="0" y="5377478"/>
            <a:ext cx="12192000" cy="1480522"/>
          </a:xfrm>
          <a:prstGeom prst="rect">
            <a:avLst/>
          </a:prstGeom>
        </p:spPr>
      </p:pic>
      <p:sp>
        <p:nvSpPr>
          <p:cNvPr id="11" name="Rectangle 10">
            <a:extLst>
              <a:ext uri="{FF2B5EF4-FFF2-40B4-BE49-F238E27FC236}">
                <a16:creationId xmlns:a16="http://schemas.microsoft.com/office/drawing/2014/main" id="{C6FE4F06-25D3-4780-B9E5-5FC5BB02586F}"/>
              </a:ext>
            </a:extLst>
          </p:cNvPr>
          <p:cNvSpPr/>
          <p:nvPr/>
        </p:nvSpPr>
        <p:spPr>
          <a:xfrm>
            <a:off x="0" y="5356715"/>
            <a:ext cx="12192000" cy="1501284"/>
          </a:xfrm>
          <a:prstGeom prst="rect">
            <a:avLst/>
          </a:prstGeom>
          <a:solidFill>
            <a:schemeClr val="accent4">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8F8982C5-63E8-41B3-A33F-1C03F12AA617}"/>
              </a:ext>
            </a:extLst>
          </p:cNvPr>
          <p:cNvSpPr txBox="1"/>
          <p:nvPr/>
        </p:nvSpPr>
        <p:spPr>
          <a:xfrm>
            <a:off x="1676400" y="5876264"/>
            <a:ext cx="9156700" cy="400110"/>
          </a:xfrm>
          <a:prstGeom prst="rect">
            <a:avLst/>
          </a:prstGeom>
          <a:noFill/>
        </p:spPr>
        <p:txBody>
          <a:bodyPr wrap="square" rtlCol="0">
            <a:spAutoFit/>
          </a:bodyPr>
          <a:lstStyle/>
          <a:p>
            <a:pPr algn="ctr"/>
            <a:r>
              <a:rPr lang="es-ES" sz="2000" b="1" dirty="0">
                <a:solidFill>
                  <a:schemeClr val="bg1"/>
                </a:solidFill>
              </a:rPr>
              <a:t>…beneficio al paciente, conocimiento científico, y desarrollo estratégico</a:t>
            </a:r>
          </a:p>
        </p:txBody>
      </p:sp>
      <p:cxnSp>
        <p:nvCxnSpPr>
          <p:cNvPr id="16" name="Straight Connector 15">
            <a:extLst>
              <a:ext uri="{FF2B5EF4-FFF2-40B4-BE49-F238E27FC236}">
                <a16:creationId xmlns:a16="http://schemas.microsoft.com/office/drawing/2014/main" id="{596BFA76-8CFB-470A-A3B7-D741FBDF3A79}"/>
              </a:ext>
            </a:extLst>
          </p:cNvPr>
          <p:cNvCxnSpPr/>
          <p:nvPr/>
        </p:nvCxnSpPr>
        <p:spPr>
          <a:xfrm>
            <a:off x="2810744" y="5607907"/>
            <a:ext cx="6570513"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2D02F85-8352-4842-94E8-89C2C8714E6D}"/>
              </a:ext>
            </a:extLst>
          </p:cNvPr>
          <p:cNvCxnSpPr/>
          <p:nvPr/>
        </p:nvCxnSpPr>
        <p:spPr>
          <a:xfrm>
            <a:off x="2810744" y="6573107"/>
            <a:ext cx="6570513"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4750556B-FC66-42C4-B2D4-47D56333243D}"/>
              </a:ext>
            </a:extLst>
          </p:cNvPr>
          <p:cNvGrpSpPr/>
          <p:nvPr/>
        </p:nvGrpSpPr>
        <p:grpSpPr>
          <a:xfrm>
            <a:off x="3225022" y="1603738"/>
            <a:ext cx="6270363" cy="3018378"/>
            <a:chOff x="5621079" y="1015807"/>
            <a:chExt cx="6270363" cy="3018378"/>
          </a:xfrm>
        </p:grpSpPr>
        <p:grpSp>
          <p:nvGrpSpPr>
            <p:cNvPr id="34" name="Group 33">
              <a:extLst>
                <a:ext uri="{FF2B5EF4-FFF2-40B4-BE49-F238E27FC236}">
                  <a16:creationId xmlns:a16="http://schemas.microsoft.com/office/drawing/2014/main" id="{4C4FE765-9A8E-4B83-B0C3-A95F11A83EE6}"/>
                </a:ext>
              </a:extLst>
            </p:cNvPr>
            <p:cNvGrpSpPr/>
            <p:nvPr/>
          </p:nvGrpSpPr>
          <p:grpSpPr>
            <a:xfrm>
              <a:off x="6781189" y="1063554"/>
              <a:ext cx="3451225" cy="2893978"/>
              <a:chOff x="2336189" y="1063554"/>
              <a:chExt cx="3451225" cy="2893978"/>
            </a:xfrm>
          </p:grpSpPr>
          <p:sp>
            <p:nvSpPr>
              <p:cNvPr id="21" name="Isosceles Triangle 20">
                <a:extLst>
                  <a:ext uri="{FF2B5EF4-FFF2-40B4-BE49-F238E27FC236}">
                    <a16:creationId xmlns:a16="http://schemas.microsoft.com/office/drawing/2014/main" id="{895731C0-1C17-4E08-951F-92097284093E}"/>
                  </a:ext>
                </a:extLst>
              </p:cNvPr>
              <p:cNvSpPr/>
              <p:nvPr/>
            </p:nvSpPr>
            <p:spPr>
              <a:xfrm rot="14400000" flipV="1">
                <a:off x="2711277" y="2461927"/>
                <a:ext cx="544144" cy="1294319"/>
              </a:xfrm>
              <a:prstGeom prst="triangle">
                <a:avLst>
                  <a:gd name="adj" fmla="val 0"/>
                </a:avLst>
              </a:prstGeom>
              <a:gradFill flip="none" rotWithShape="1">
                <a:gsLst>
                  <a:gs pos="0">
                    <a:schemeClr val="accent3"/>
                  </a:gs>
                  <a:gs pos="84000">
                    <a:schemeClr val="accent6"/>
                  </a:gs>
                </a:gsLst>
                <a:lin ang="162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2" name="Isosceles Triangle 21">
                <a:extLst>
                  <a:ext uri="{FF2B5EF4-FFF2-40B4-BE49-F238E27FC236}">
                    <a16:creationId xmlns:a16="http://schemas.microsoft.com/office/drawing/2014/main" id="{DFA86B86-E3C2-4153-8B72-56CF5E4CA093}"/>
                  </a:ext>
                </a:extLst>
              </p:cNvPr>
              <p:cNvSpPr/>
              <p:nvPr/>
            </p:nvSpPr>
            <p:spPr>
              <a:xfrm rot="7200000" flipV="1">
                <a:off x="4599286" y="2933171"/>
                <a:ext cx="544144" cy="1294319"/>
              </a:xfrm>
              <a:prstGeom prst="triangle">
                <a:avLst>
                  <a:gd name="adj" fmla="val 0"/>
                </a:avLst>
              </a:prstGeom>
              <a:gradFill flip="none" rotWithShape="1">
                <a:gsLst>
                  <a:gs pos="0">
                    <a:schemeClr val="accent3"/>
                  </a:gs>
                  <a:gs pos="84000">
                    <a:schemeClr val="accent6"/>
                  </a:gs>
                </a:gsLst>
                <a:lin ang="162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3" name="Isosceles Triangle 22">
                <a:extLst>
                  <a:ext uri="{FF2B5EF4-FFF2-40B4-BE49-F238E27FC236}">
                    <a16:creationId xmlns:a16="http://schemas.microsoft.com/office/drawing/2014/main" id="{30530D99-35DD-49C4-8705-EB86C22BA49B}"/>
                  </a:ext>
                </a:extLst>
              </p:cNvPr>
              <p:cNvSpPr/>
              <p:nvPr/>
            </p:nvSpPr>
            <p:spPr>
              <a:xfrm flipV="1">
                <a:off x="4063390" y="1063554"/>
                <a:ext cx="544144" cy="1294319"/>
              </a:xfrm>
              <a:prstGeom prst="triangle">
                <a:avLst>
                  <a:gd name="adj" fmla="val 0"/>
                </a:avLst>
              </a:prstGeom>
              <a:gradFill flip="none" rotWithShape="1">
                <a:gsLst>
                  <a:gs pos="0">
                    <a:schemeClr val="accent3"/>
                  </a:gs>
                  <a:gs pos="84000">
                    <a:schemeClr val="accent6"/>
                  </a:gs>
                </a:gsLst>
                <a:lin ang="162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4" name="Oval 23">
                <a:extLst>
                  <a:ext uri="{FF2B5EF4-FFF2-40B4-BE49-F238E27FC236}">
                    <a16:creationId xmlns:a16="http://schemas.microsoft.com/office/drawing/2014/main" id="{839B8FBD-0A6E-4B9B-BD68-769C1B2A5C7F}"/>
                  </a:ext>
                </a:extLst>
              </p:cNvPr>
              <p:cNvSpPr/>
              <p:nvPr/>
            </p:nvSpPr>
            <p:spPr>
              <a:xfrm>
                <a:off x="2810744" y="1452241"/>
                <a:ext cx="2505291" cy="2505291"/>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31" name="Oval 30">
                <a:extLst>
                  <a:ext uri="{FF2B5EF4-FFF2-40B4-BE49-F238E27FC236}">
                    <a16:creationId xmlns:a16="http://schemas.microsoft.com/office/drawing/2014/main" id="{3CFB81FA-12FA-498C-AC95-858F8AC92D9C}"/>
                  </a:ext>
                </a:extLst>
              </p:cNvPr>
              <p:cNvSpPr/>
              <p:nvPr/>
            </p:nvSpPr>
            <p:spPr>
              <a:xfrm>
                <a:off x="2983349" y="1624846"/>
                <a:ext cx="2160081" cy="2160081"/>
              </a:xfrm>
              <a:prstGeom prst="ellipse">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6" name="Isosceles Triangle 25">
                <a:extLst>
                  <a:ext uri="{FF2B5EF4-FFF2-40B4-BE49-F238E27FC236}">
                    <a16:creationId xmlns:a16="http://schemas.microsoft.com/office/drawing/2014/main" id="{27C7E5CE-02B7-40ED-B41E-A5DC778FA3E3}"/>
                  </a:ext>
                </a:extLst>
              </p:cNvPr>
              <p:cNvSpPr/>
              <p:nvPr/>
            </p:nvSpPr>
            <p:spPr>
              <a:xfrm rot="7200000" flipH="1" flipV="1">
                <a:off x="4868183" y="2465102"/>
                <a:ext cx="544144" cy="1294319"/>
              </a:xfrm>
              <a:prstGeom prst="triangle">
                <a:avLst>
                  <a:gd name="adj" fmla="val 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7" name="Isosceles Triangle 26">
                <a:extLst>
                  <a:ext uri="{FF2B5EF4-FFF2-40B4-BE49-F238E27FC236}">
                    <a16:creationId xmlns:a16="http://schemas.microsoft.com/office/drawing/2014/main" id="{20C7200B-4F24-4A67-A7D9-87F71757F0D9}"/>
                  </a:ext>
                </a:extLst>
              </p:cNvPr>
              <p:cNvSpPr/>
              <p:nvPr/>
            </p:nvSpPr>
            <p:spPr>
              <a:xfrm rot="14400000" flipH="1" flipV="1">
                <a:off x="2980968" y="2930790"/>
                <a:ext cx="544144" cy="1294319"/>
              </a:xfrm>
              <a:prstGeom prst="triangle">
                <a:avLst>
                  <a:gd name="adj" fmla="val 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5" name="Isosceles Triangle 24">
                <a:extLst>
                  <a:ext uri="{FF2B5EF4-FFF2-40B4-BE49-F238E27FC236}">
                    <a16:creationId xmlns:a16="http://schemas.microsoft.com/office/drawing/2014/main" id="{6BF43E52-B90C-4A2A-B3B5-32F711B055DD}"/>
                  </a:ext>
                </a:extLst>
              </p:cNvPr>
              <p:cNvSpPr/>
              <p:nvPr/>
            </p:nvSpPr>
            <p:spPr>
              <a:xfrm flipH="1" flipV="1">
                <a:off x="3519246" y="1063554"/>
                <a:ext cx="544144" cy="1294319"/>
              </a:xfrm>
              <a:prstGeom prst="triangle">
                <a:avLst>
                  <a:gd name="adj" fmla="val 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pic>
            <p:nvPicPr>
              <p:cNvPr id="32" name="Picture 31">
                <a:extLst>
                  <a:ext uri="{FF2B5EF4-FFF2-40B4-BE49-F238E27FC236}">
                    <a16:creationId xmlns:a16="http://schemas.microsoft.com/office/drawing/2014/main" id="{50387C1D-1A9A-490E-BAD9-0D4B039736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t="13024" b="6351"/>
              <a:stretch/>
            </p:blipFill>
            <p:spPr>
              <a:xfrm>
                <a:off x="3385744" y="2261615"/>
                <a:ext cx="1355290" cy="761918"/>
              </a:xfrm>
              <a:prstGeom prst="rect">
                <a:avLst/>
              </a:prstGeom>
            </p:spPr>
          </p:pic>
        </p:grpSp>
        <p:sp>
          <p:nvSpPr>
            <p:cNvPr id="35" name="TextBox 34">
              <a:extLst>
                <a:ext uri="{FF2B5EF4-FFF2-40B4-BE49-F238E27FC236}">
                  <a16:creationId xmlns:a16="http://schemas.microsoft.com/office/drawing/2014/main" id="{6A0B9A29-CB3B-471C-8BEB-149DBB32D230}"/>
                </a:ext>
              </a:extLst>
            </p:cNvPr>
            <p:cNvSpPr txBox="1"/>
            <p:nvPr/>
          </p:nvSpPr>
          <p:spPr>
            <a:xfrm>
              <a:off x="9214597" y="1015807"/>
              <a:ext cx="881167" cy="615553"/>
            </a:xfrm>
            <a:prstGeom prst="rect">
              <a:avLst/>
            </a:prstGeom>
            <a:noFill/>
          </p:spPr>
          <p:txBody>
            <a:bodyPr wrap="square" lIns="0" tIns="0" rIns="0" bIns="0" rtlCol="0">
              <a:spAutoFit/>
            </a:bodyPr>
            <a:lstStyle/>
            <a:p>
              <a:pPr algn="ctr"/>
              <a:r>
                <a:rPr lang="en-US" sz="2000" b="1" dirty="0">
                  <a:solidFill>
                    <a:schemeClr val="accent2"/>
                  </a:solidFill>
                </a:rPr>
                <a:t>Patient Benefit</a:t>
              </a:r>
            </a:p>
          </p:txBody>
        </p:sp>
        <p:sp>
          <p:nvSpPr>
            <p:cNvPr id="36" name="TextBox 35">
              <a:extLst>
                <a:ext uri="{FF2B5EF4-FFF2-40B4-BE49-F238E27FC236}">
                  <a16:creationId xmlns:a16="http://schemas.microsoft.com/office/drawing/2014/main" id="{FC4DCB3F-C242-40C9-A14B-38F317AA60BF}"/>
                </a:ext>
              </a:extLst>
            </p:cNvPr>
            <p:cNvSpPr txBox="1"/>
            <p:nvPr/>
          </p:nvSpPr>
          <p:spPr>
            <a:xfrm>
              <a:off x="5621079" y="3418632"/>
              <a:ext cx="1139642" cy="615553"/>
            </a:xfrm>
            <a:prstGeom prst="rect">
              <a:avLst/>
            </a:prstGeom>
            <a:noFill/>
          </p:spPr>
          <p:txBody>
            <a:bodyPr wrap="square" lIns="0" tIns="0" rIns="0" bIns="0" rtlCol="0">
              <a:spAutoFit/>
            </a:bodyPr>
            <a:lstStyle/>
            <a:p>
              <a:pPr algn="ctr"/>
              <a:r>
                <a:rPr lang="en-US" sz="2000" b="1" dirty="0">
                  <a:solidFill>
                    <a:schemeClr val="accent2"/>
                  </a:solidFill>
                </a:rPr>
                <a:t>Scientific Value</a:t>
              </a:r>
            </a:p>
          </p:txBody>
        </p:sp>
        <p:sp>
          <p:nvSpPr>
            <p:cNvPr id="37" name="TextBox 36">
              <a:extLst>
                <a:ext uri="{FF2B5EF4-FFF2-40B4-BE49-F238E27FC236}">
                  <a16:creationId xmlns:a16="http://schemas.microsoft.com/office/drawing/2014/main" id="{7115587A-97D4-49FF-A221-E7DB40B5D70E}"/>
                </a:ext>
              </a:extLst>
            </p:cNvPr>
            <p:cNvSpPr txBox="1"/>
            <p:nvPr/>
          </p:nvSpPr>
          <p:spPr>
            <a:xfrm>
              <a:off x="10287850" y="3198944"/>
              <a:ext cx="1603592" cy="615553"/>
            </a:xfrm>
            <a:prstGeom prst="rect">
              <a:avLst/>
            </a:prstGeom>
            <a:noFill/>
          </p:spPr>
          <p:txBody>
            <a:bodyPr wrap="square" lIns="0" tIns="0" rIns="0" bIns="0" rtlCol="0">
              <a:spAutoFit/>
            </a:bodyPr>
            <a:lstStyle/>
            <a:p>
              <a:pPr algn="ctr"/>
              <a:r>
                <a:rPr lang="en-US" sz="2000" b="1" dirty="0">
                  <a:solidFill>
                    <a:schemeClr val="accent2"/>
                  </a:solidFill>
                </a:rPr>
                <a:t>Strategic Development</a:t>
              </a:r>
            </a:p>
          </p:txBody>
        </p:sp>
      </p:grpSp>
      <p:cxnSp>
        <p:nvCxnSpPr>
          <p:cNvPr id="40" name="Straight Connector 39">
            <a:extLst>
              <a:ext uri="{FF2B5EF4-FFF2-40B4-BE49-F238E27FC236}">
                <a16:creationId xmlns:a16="http://schemas.microsoft.com/office/drawing/2014/main" id="{8C49ACD6-39C0-470B-B37C-8D193946FEBC}"/>
              </a:ext>
            </a:extLst>
          </p:cNvPr>
          <p:cNvCxnSpPr/>
          <p:nvPr/>
        </p:nvCxnSpPr>
        <p:spPr>
          <a:xfrm>
            <a:off x="274297" y="1019175"/>
            <a:ext cx="11643407" cy="0"/>
          </a:xfrm>
          <a:prstGeom prst="line">
            <a:avLst/>
          </a:prstGeom>
          <a:ln w="19050">
            <a:solidFill>
              <a:schemeClr val="accent2"/>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59897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88182" y="44121"/>
            <a:ext cx="11973464" cy="6858000"/>
          </a:xfrm>
          <a:prstGeom prst="rect">
            <a:avLst/>
          </a:prstGeom>
        </p:spPr>
      </p:pic>
      <p:pic>
        <p:nvPicPr>
          <p:cNvPr id="8"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01213" y="79746"/>
            <a:ext cx="1577103" cy="1099681"/>
          </a:xfrm>
          <a:prstGeom prst="rect">
            <a:avLst/>
          </a:prstGeom>
        </p:spPr>
      </p:pic>
      <p:sp>
        <p:nvSpPr>
          <p:cNvPr id="69" name="Rectangle 3"/>
          <p:cNvSpPr/>
          <p:nvPr/>
        </p:nvSpPr>
        <p:spPr>
          <a:xfrm>
            <a:off x="296292" y="652188"/>
            <a:ext cx="7213765" cy="380869"/>
          </a:xfrm>
          <a:prstGeom prst="rect">
            <a:avLst/>
          </a:prstGeom>
        </p:spPr>
        <p:txBody>
          <a:bodyPr wrap="square" lIns="41144" tIns="20572" rIns="41144" bIns="20572">
            <a:spAutoFit/>
          </a:bodyPr>
          <a:lstStyle/>
          <a:p>
            <a:r>
              <a:rPr lang="en-US" sz="2205" b="1" dirty="0">
                <a:solidFill>
                  <a:srgbClr val="E94A1A"/>
                </a:solidFill>
                <a:latin typeface="Helvetica Neue" charset="0"/>
                <a:ea typeface="Helvetica Neue" charset="0"/>
                <a:cs typeface="Helvetica Neue" charset="0"/>
              </a:rPr>
              <a:t>De la IDEA hasta </a:t>
            </a:r>
            <a:r>
              <a:rPr lang="en-US" sz="2205" b="1" dirty="0" err="1">
                <a:solidFill>
                  <a:srgbClr val="E94A1A"/>
                </a:solidFill>
                <a:latin typeface="Helvetica Neue" charset="0"/>
                <a:ea typeface="Helvetica Neue" charset="0"/>
                <a:cs typeface="Helvetica Neue" charset="0"/>
              </a:rPr>
              <a:t>los</a:t>
            </a:r>
            <a:r>
              <a:rPr lang="en-US" sz="2205" b="1" dirty="0">
                <a:solidFill>
                  <a:srgbClr val="E94A1A"/>
                </a:solidFill>
                <a:latin typeface="Helvetica Neue" charset="0"/>
                <a:ea typeface="Helvetica Neue" charset="0"/>
                <a:cs typeface="Helvetica Neue" charset="0"/>
              </a:rPr>
              <a:t> RESULTADOS </a:t>
            </a:r>
            <a:endParaRPr lang="en-US" sz="2205" b="1" dirty="0">
              <a:solidFill>
                <a:srgbClr val="E34D20"/>
              </a:solidFill>
              <a:latin typeface="Helvetica Neue" charset="0"/>
              <a:ea typeface="Helvetica Neue" charset="0"/>
              <a:cs typeface="Helvetica Neue" charset="0"/>
            </a:endParaRPr>
          </a:p>
        </p:txBody>
      </p:sp>
      <p:cxnSp>
        <p:nvCxnSpPr>
          <p:cNvPr id="5" name="Straight Connector 48"/>
          <p:cNvCxnSpPr/>
          <p:nvPr/>
        </p:nvCxnSpPr>
        <p:spPr>
          <a:xfrm flipH="1">
            <a:off x="8894225" y="3841242"/>
            <a:ext cx="934921" cy="0"/>
          </a:xfrm>
          <a:prstGeom prst="line">
            <a:avLst/>
          </a:prstGeom>
          <a:ln w="76200" cmpd="sng">
            <a:solidFill>
              <a:srgbClr val="25AAE1"/>
            </a:solidFill>
          </a:ln>
        </p:spPr>
        <p:style>
          <a:lnRef idx="1">
            <a:schemeClr val="accent1"/>
          </a:lnRef>
          <a:fillRef idx="0">
            <a:schemeClr val="accent1"/>
          </a:fillRef>
          <a:effectRef idx="0">
            <a:schemeClr val="accent1"/>
          </a:effectRef>
          <a:fontRef idx="minor">
            <a:schemeClr val="tx1"/>
          </a:fontRef>
        </p:style>
      </p:cxnSp>
      <p:cxnSp>
        <p:nvCxnSpPr>
          <p:cNvPr id="6" name="Straight Connector 51"/>
          <p:cNvCxnSpPr/>
          <p:nvPr/>
        </p:nvCxnSpPr>
        <p:spPr>
          <a:xfrm flipH="1">
            <a:off x="6052173" y="3840160"/>
            <a:ext cx="2823284" cy="2165"/>
          </a:xfrm>
          <a:prstGeom prst="line">
            <a:avLst/>
          </a:prstGeom>
          <a:ln w="76200" cmpd="sng">
            <a:solidFill>
              <a:srgbClr val="ED6841"/>
            </a:solidFill>
          </a:ln>
        </p:spPr>
        <p:style>
          <a:lnRef idx="1">
            <a:schemeClr val="accent1"/>
          </a:lnRef>
          <a:fillRef idx="0">
            <a:schemeClr val="accent1"/>
          </a:fillRef>
          <a:effectRef idx="0">
            <a:schemeClr val="accent1"/>
          </a:effectRef>
          <a:fontRef idx="minor">
            <a:schemeClr val="tx1"/>
          </a:fontRef>
        </p:style>
      </p:cxnSp>
      <p:cxnSp>
        <p:nvCxnSpPr>
          <p:cNvPr id="7" name="Straight Connector 52"/>
          <p:cNvCxnSpPr>
            <a:cxnSpLocks/>
          </p:cNvCxnSpPr>
          <p:nvPr/>
        </p:nvCxnSpPr>
        <p:spPr>
          <a:xfrm flipH="1" flipV="1">
            <a:off x="4650163" y="3834382"/>
            <a:ext cx="1402011" cy="4695"/>
          </a:xfrm>
          <a:prstGeom prst="line">
            <a:avLst/>
          </a:prstGeom>
          <a:ln w="76200" cmpd="sng">
            <a:solidFill>
              <a:srgbClr val="B6B6B6"/>
            </a:solidFill>
          </a:ln>
        </p:spPr>
        <p:style>
          <a:lnRef idx="1">
            <a:schemeClr val="accent1"/>
          </a:lnRef>
          <a:fillRef idx="0">
            <a:schemeClr val="accent1"/>
          </a:fillRef>
          <a:effectRef idx="0">
            <a:schemeClr val="accent1"/>
          </a:effectRef>
          <a:fontRef idx="minor">
            <a:schemeClr val="tx1"/>
          </a:fontRef>
        </p:style>
      </p:cxnSp>
      <p:cxnSp>
        <p:nvCxnSpPr>
          <p:cNvPr id="9" name="Straight Connector 53"/>
          <p:cNvCxnSpPr/>
          <p:nvPr/>
        </p:nvCxnSpPr>
        <p:spPr>
          <a:xfrm>
            <a:off x="3437245" y="3841242"/>
            <a:ext cx="1212918" cy="0"/>
          </a:xfrm>
          <a:prstGeom prst="line">
            <a:avLst/>
          </a:prstGeom>
          <a:ln w="76200" cmpd="sng">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7" name="Straight Connector 53"/>
          <p:cNvCxnSpPr/>
          <p:nvPr/>
        </p:nvCxnSpPr>
        <p:spPr>
          <a:xfrm>
            <a:off x="9812312" y="3841242"/>
            <a:ext cx="1212918" cy="0"/>
          </a:xfrm>
          <a:prstGeom prst="line">
            <a:avLst/>
          </a:prstGeom>
          <a:ln w="76200" cmpd="sng">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8" name="Rectangle 32"/>
          <p:cNvSpPr/>
          <p:nvPr/>
        </p:nvSpPr>
        <p:spPr>
          <a:xfrm>
            <a:off x="3424753" y="3095894"/>
            <a:ext cx="1237903" cy="523220"/>
          </a:xfrm>
          <a:prstGeom prst="rect">
            <a:avLst/>
          </a:prstGeom>
        </p:spPr>
        <p:txBody>
          <a:bodyPr wrap="none">
            <a:spAutoFit/>
          </a:bodyPr>
          <a:lstStyle/>
          <a:p>
            <a:pPr algn="ctr"/>
            <a:r>
              <a:rPr lang="en-US" sz="1400" dirty="0" err="1">
                <a:solidFill>
                  <a:srgbClr val="716E6F"/>
                </a:solidFill>
                <a:latin typeface="Calibri" panose="020F0502020204030204" pitchFamily="34" charset="0"/>
                <a:ea typeface="Corbel" charset="0"/>
                <a:cs typeface="Calibri" panose="020F0502020204030204" pitchFamily="34" charset="0"/>
              </a:rPr>
              <a:t>Redacción</a:t>
            </a:r>
            <a:r>
              <a:rPr lang="en-US" sz="1400" dirty="0">
                <a:solidFill>
                  <a:srgbClr val="716E6F"/>
                </a:solidFill>
                <a:latin typeface="Calibri" panose="020F0502020204030204" pitchFamily="34" charset="0"/>
                <a:ea typeface="Corbel" charset="0"/>
                <a:cs typeface="Calibri" panose="020F0502020204030204" pitchFamily="34" charset="0"/>
              </a:rPr>
              <a:t> del </a:t>
            </a:r>
          </a:p>
          <a:p>
            <a:pPr algn="ctr"/>
            <a:r>
              <a:rPr lang="en-US" sz="1400" dirty="0" err="1">
                <a:solidFill>
                  <a:srgbClr val="716E6F"/>
                </a:solidFill>
                <a:latin typeface="Calibri" panose="020F0502020204030204" pitchFamily="34" charset="0"/>
                <a:ea typeface="Corbel" charset="0"/>
                <a:cs typeface="Calibri" panose="020F0502020204030204" pitchFamily="34" charset="0"/>
              </a:rPr>
              <a:t>protocolo</a:t>
            </a:r>
            <a:r>
              <a:rPr lang="en-US" sz="1400" dirty="0">
                <a:solidFill>
                  <a:srgbClr val="716E6F"/>
                </a:solidFill>
                <a:latin typeface="Calibri" panose="020F0502020204030204" pitchFamily="34" charset="0"/>
                <a:ea typeface="Corbel" charset="0"/>
                <a:cs typeface="Calibri" panose="020F0502020204030204" pitchFamily="34" charset="0"/>
              </a:rPr>
              <a:t> </a:t>
            </a:r>
          </a:p>
        </p:txBody>
      </p:sp>
      <p:sp>
        <p:nvSpPr>
          <p:cNvPr id="19" name="Rectangle 32"/>
          <p:cNvSpPr/>
          <p:nvPr/>
        </p:nvSpPr>
        <p:spPr>
          <a:xfrm>
            <a:off x="4748763" y="3095894"/>
            <a:ext cx="1285929" cy="523220"/>
          </a:xfrm>
          <a:prstGeom prst="rect">
            <a:avLst/>
          </a:prstGeom>
        </p:spPr>
        <p:txBody>
          <a:bodyPr wrap="none">
            <a:spAutoFit/>
          </a:bodyPr>
          <a:lstStyle/>
          <a:p>
            <a:pPr algn="ctr"/>
            <a:r>
              <a:rPr lang="en-US" sz="1400" dirty="0">
                <a:solidFill>
                  <a:srgbClr val="716E6F"/>
                </a:solidFill>
                <a:latin typeface="Calibri" panose="020F0502020204030204" pitchFamily="34" charset="0"/>
                <a:ea typeface="Corbel" charset="0"/>
                <a:cs typeface="Calibri" panose="020F0502020204030204" pitchFamily="34" charset="0"/>
              </a:rPr>
              <a:t>Regulatory </a:t>
            </a:r>
          </a:p>
          <a:p>
            <a:pPr algn="ctr"/>
            <a:r>
              <a:rPr lang="en-US" sz="1400" dirty="0">
                <a:solidFill>
                  <a:srgbClr val="716E6F"/>
                </a:solidFill>
                <a:latin typeface="Calibri" panose="020F0502020204030204" pitchFamily="34" charset="0"/>
                <a:ea typeface="Corbel" charset="0"/>
                <a:cs typeface="Calibri" panose="020F0502020204030204" pitchFamily="34" charset="0"/>
              </a:rPr>
              <a:t>(AEM, CEICs, ...</a:t>
            </a:r>
          </a:p>
        </p:txBody>
      </p:sp>
      <p:sp>
        <p:nvSpPr>
          <p:cNvPr id="20" name="Rectangle 32"/>
          <p:cNvSpPr/>
          <p:nvPr/>
        </p:nvSpPr>
        <p:spPr>
          <a:xfrm>
            <a:off x="6367467" y="3095894"/>
            <a:ext cx="2263953" cy="523220"/>
          </a:xfrm>
          <a:prstGeom prst="rect">
            <a:avLst/>
          </a:prstGeom>
        </p:spPr>
        <p:txBody>
          <a:bodyPr wrap="none">
            <a:spAutoFit/>
          </a:bodyPr>
          <a:lstStyle/>
          <a:p>
            <a:pPr algn="ctr"/>
            <a:r>
              <a:rPr lang="en-US" sz="1400" dirty="0" err="1">
                <a:solidFill>
                  <a:srgbClr val="716E6F"/>
                </a:solidFill>
                <a:latin typeface="Calibri" panose="020F0502020204030204" pitchFamily="34" charset="0"/>
                <a:ea typeface="Corbel" charset="0"/>
                <a:cs typeface="Calibri" panose="020F0502020204030204" pitchFamily="34" charset="0"/>
              </a:rPr>
              <a:t>Reclutamiento</a:t>
            </a:r>
            <a:endParaRPr lang="en-US" sz="1400" dirty="0">
              <a:solidFill>
                <a:srgbClr val="716E6F"/>
              </a:solidFill>
              <a:latin typeface="Calibri" panose="020F0502020204030204" pitchFamily="34" charset="0"/>
              <a:ea typeface="Corbel" charset="0"/>
              <a:cs typeface="Calibri" panose="020F0502020204030204" pitchFamily="34" charset="0"/>
            </a:endParaRPr>
          </a:p>
          <a:p>
            <a:pPr algn="ctr"/>
            <a:r>
              <a:rPr lang="en-US" sz="1400" dirty="0">
                <a:solidFill>
                  <a:srgbClr val="716E6F"/>
                </a:solidFill>
                <a:latin typeface="Calibri" panose="020F0502020204030204" pitchFamily="34" charset="0"/>
                <a:ea typeface="Corbel" charset="0"/>
                <a:cs typeface="Calibri" panose="020F0502020204030204" pitchFamily="34" charset="0"/>
              </a:rPr>
              <a:t>(</a:t>
            </a:r>
            <a:r>
              <a:rPr lang="en-US" sz="1400" dirty="0" err="1">
                <a:solidFill>
                  <a:srgbClr val="716E6F"/>
                </a:solidFill>
                <a:latin typeface="Calibri" panose="020F0502020204030204" pitchFamily="34" charset="0"/>
                <a:ea typeface="Corbel" charset="0"/>
                <a:cs typeface="Calibri" panose="020F0502020204030204" pitchFamily="34" charset="0"/>
              </a:rPr>
              <a:t>Tratamiento</a:t>
            </a:r>
            <a:r>
              <a:rPr lang="en-US" sz="1400" dirty="0">
                <a:solidFill>
                  <a:srgbClr val="716E6F"/>
                </a:solidFill>
                <a:latin typeface="Calibri" panose="020F0502020204030204" pitchFamily="34" charset="0"/>
                <a:ea typeface="Corbel" charset="0"/>
                <a:cs typeface="Calibri" panose="020F0502020204030204" pitchFamily="34" charset="0"/>
              </a:rPr>
              <a:t> + </a:t>
            </a:r>
            <a:r>
              <a:rPr lang="en-US" sz="1400" dirty="0" err="1">
                <a:solidFill>
                  <a:srgbClr val="716E6F"/>
                </a:solidFill>
                <a:latin typeface="Calibri" panose="020F0502020204030204" pitchFamily="34" charset="0"/>
                <a:ea typeface="Corbel" charset="0"/>
                <a:cs typeface="Calibri" panose="020F0502020204030204" pitchFamily="34" charset="0"/>
              </a:rPr>
              <a:t>Seguimiento</a:t>
            </a:r>
            <a:r>
              <a:rPr lang="en-US" sz="1400" dirty="0">
                <a:solidFill>
                  <a:srgbClr val="716E6F"/>
                </a:solidFill>
                <a:latin typeface="Calibri" panose="020F0502020204030204" pitchFamily="34" charset="0"/>
                <a:ea typeface="Corbel" charset="0"/>
                <a:cs typeface="Calibri" panose="020F0502020204030204" pitchFamily="34" charset="0"/>
              </a:rPr>
              <a:t>)</a:t>
            </a:r>
          </a:p>
        </p:txBody>
      </p:sp>
      <p:sp>
        <p:nvSpPr>
          <p:cNvPr id="21" name="Rectangle 32"/>
          <p:cNvSpPr/>
          <p:nvPr/>
        </p:nvSpPr>
        <p:spPr>
          <a:xfrm>
            <a:off x="8996040" y="3311337"/>
            <a:ext cx="624723" cy="307777"/>
          </a:xfrm>
          <a:prstGeom prst="rect">
            <a:avLst/>
          </a:prstGeom>
        </p:spPr>
        <p:txBody>
          <a:bodyPr wrap="none">
            <a:spAutoFit/>
          </a:bodyPr>
          <a:lstStyle/>
          <a:p>
            <a:r>
              <a:rPr lang="en-US" sz="1400" dirty="0" err="1">
                <a:solidFill>
                  <a:srgbClr val="716E6F"/>
                </a:solidFill>
                <a:latin typeface="Calibri" panose="020F0502020204030204" pitchFamily="34" charset="0"/>
                <a:ea typeface="Corbel" charset="0"/>
                <a:cs typeface="Calibri" panose="020F0502020204030204" pitchFamily="34" charset="0"/>
              </a:rPr>
              <a:t>Cierre</a:t>
            </a:r>
            <a:endParaRPr lang="en-US" sz="1400" dirty="0">
              <a:solidFill>
                <a:srgbClr val="716E6F"/>
              </a:solidFill>
              <a:latin typeface="Calibri" panose="020F0502020204030204" pitchFamily="34" charset="0"/>
              <a:ea typeface="Corbel" charset="0"/>
              <a:cs typeface="Calibri" panose="020F0502020204030204" pitchFamily="34" charset="0"/>
            </a:endParaRPr>
          </a:p>
        </p:txBody>
      </p:sp>
      <p:sp>
        <p:nvSpPr>
          <p:cNvPr id="22" name="Rectangle 32"/>
          <p:cNvSpPr/>
          <p:nvPr/>
        </p:nvSpPr>
        <p:spPr>
          <a:xfrm>
            <a:off x="9908055" y="3311337"/>
            <a:ext cx="1016753" cy="307777"/>
          </a:xfrm>
          <a:prstGeom prst="rect">
            <a:avLst/>
          </a:prstGeom>
        </p:spPr>
        <p:txBody>
          <a:bodyPr wrap="none">
            <a:spAutoFit/>
          </a:bodyPr>
          <a:lstStyle/>
          <a:p>
            <a:r>
              <a:rPr lang="en-US" sz="1400" dirty="0" err="1">
                <a:solidFill>
                  <a:srgbClr val="716E6F"/>
                </a:solidFill>
                <a:latin typeface="Calibri" panose="020F0502020204030204" pitchFamily="34" charset="0"/>
                <a:ea typeface="Corbel" charset="0"/>
                <a:cs typeface="Calibri" panose="020F0502020204030204" pitchFamily="34" charset="0"/>
              </a:rPr>
              <a:t>Publicación</a:t>
            </a:r>
            <a:endParaRPr lang="en-US" sz="1400" dirty="0">
              <a:solidFill>
                <a:srgbClr val="716E6F"/>
              </a:solidFill>
              <a:latin typeface="Calibri" panose="020F0502020204030204" pitchFamily="34" charset="0"/>
              <a:ea typeface="Corbel" charset="0"/>
              <a:cs typeface="Calibri" panose="020F0502020204030204" pitchFamily="34" charset="0"/>
            </a:endParaRPr>
          </a:p>
        </p:txBody>
      </p:sp>
      <p:sp>
        <p:nvSpPr>
          <p:cNvPr id="23" name="Rectangle 42"/>
          <p:cNvSpPr/>
          <p:nvPr/>
        </p:nvSpPr>
        <p:spPr>
          <a:xfrm>
            <a:off x="3528485" y="4004703"/>
            <a:ext cx="1030438" cy="300082"/>
          </a:xfrm>
          <a:prstGeom prst="rect">
            <a:avLst/>
          </a:prstGeom>
        </p:spPr>
        <p:txBody>
          <a:bodyPr wrap="square">
            <a:spAutoFit/>
          </a:bodyPr>
          <a:lstStyle/>
          <a:p>
            <a:r>
              <a:rPr lang="en-US" sz="1350" b="1" dirty="0">
                <a:solidFill>
                  <a:srgbClr val="716E6F"/>
                </a:solidFill>
                <a:latin typeface="Corbel" charset="0"/>
                <a:ea typeface="Corbel" charset="0"/>
                <a:cs typeface="Corbel" charset="0"/>
              </a:rPr>
              <a:t>1-4 </a:t>
            </a:r>
            <a:r>
              <a:rPr lang="en-US" sz="1350" b="1" dirty="0" err="1">
                <a:solidFill>
                  <a:srgbClr val="716E6F"/>
                </a:solidFill>
                <a:latin typeface="Corbel" charset="0"/>
                <a:ea typeface="Corbel" charset="0"/>
                <a:cs typeface="Corbel" charset="0"/>
              </a:rPr>
              <a:t>meses</a:t>
            </a:r>
            <a:endParaRPr lang="en-US" sz="1350" b="1" dirty="0">
              <a:solidFill>
                <a:srgbClr val="716E6F"/>
              </a:solidFill>
              <a:latin typeface="Corbel" charset="0"/>
              <a:ea typeface="Corbel" charset="0"/>
              <a:cs typeface="Corbel" charset="0"/>
            </a:endParaRPr>
          </a:p>
        </p:txBody>
      </p:sp>
      <p:sp>
        <p:nvSpPr>
          <p:cNvPr id="24" name="Rectangle 42"/>
          <p:cNvSpPr/>
          <p:nvPr/>
        </p:nvSpPr>
        <p:spPr>
          <a:xfrm>
            <a:off x="8942115" y="4004703"/>
            <a:ext cx="839140" cy="300082"/>
          </a:xfrm>
          <a:prstGeom prst="rect">
            <a:avLst/>
          </a:prstGeom>
        </p:spPr>
        <p:txBody>
          <a:bodyPr wrap="square">
            <a:spAutoFit/>
          </a:bodyPr>
          <a:lstStyle/>
          <a:p>
            <a:pPr algn="ctr"/>
            <a:r>
              <a:rPr lang="en-US" sz="1350" b="1" dirty="0">
                <a:solidFill>
                  <a:srgbClr val="716E6F"/>
                </a:solidFill>
                <a:latin typeface="Corbel" charset="0"/>
                <a:ea typeface="Corbel" charset="0"/>
                <a:cs typeface="Corbel" charset="0"/>
              </a:rPr>
              <a:t>4m</a:t>
            </a:r>
          </a:p>
        </p:txBody>
      </p:sp>
      <p:sp>
        <p:nvSpPr>
          <p:cNvPr id="25" name="Rectangle 42"/>
          <p:cNvSpPr/>
          <p:nvPr/>
        </p:nvSpPr>
        <p:spPr>
          <a:xfrm>
            <a:off x="4717366" y="4004703"/>
            <a:ext cx="1334808" cy="300082"/>
          </a:xfrm>
          <a:prstGeom prst="rect">
            <a:avLst/>
          </a:prstGeom>
        </p:spPr>
        <p:txBody>
          <a:bodyPr wrap="square">
            <a:spAutoFit/>
          </a:bodyPr>
          <a:lstStyle/>
          <a:p>
            <a:pPr algn="ctr"/>
            <a:r>
              <a:rPr lang="en-US" sz="1350" b="1" dirty="0">
                <a:solidFill>
                  <a:srgbClr val="716E6F"/>
                </a:solidFill>
                <a:latin typeface="Corbel" charset="0"/>
                <a:ea typeface="Corbel" charset="0"/>
                <a:cs typeface="Corbel" charset="0"/>
              </a:rPr>
              <a:t>3-4 </a:t>
            </a:r>
            <a:r>
              <a:rPr lang="en-US" sz="1350" b="1" dirty="0" err="1">
                <a:solidFill>
                  <a:srgbClr val="716E6F"/>
                </a:solidFill>
                <a:latin typeface="Corbel" charset="0"/>
                <a:ea typeface="Corbel" charset="0"/>
                <a:cs typeface="Corbel" charset="0"/>
              </a:rPr>
              <a:t>meses</a:t>
            </a:r>
            <a:endParaRPr lang="en-US" sz="1350" b="1" dirty="0">
              <a:solidFill>
                <a:srgbClr val="716E6F"/>
              </a:solidFill>
              <a:latin typeface="Corbel" charset="0"/>
              <a:ea typeface="Corbel" charset="0"/>
              <a:cs typeface="Corbel" charset="0"/>
            </a:endParaRPr>
          </a:p>
        </p:txBody>
      </p:sp>
      <p:pic>
        <p:nvPicPr>
          <p:cNvPr id="16" name="Imagen 15" descr="graph.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10443" y="4904821"/>
            <a:ext cx="506744" cy="506744"/>
          </a:xfrm>
          <a:prstGeom prst="rect">
            <a:avLst/>
          </a:prstGeom>
        </p:spPr>
      </p:pic>
      <p:pic>
        <p:nvPicPr>
          <p:cNvPr id="26" name="Imagen 25" descr="publication.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118944" y="4830342"/>
            <a:ext cx="599655" cy="599655"/>
          </a:xfrm>
          <a:prstGeom prst="rect">
            <a:avLst/>
          </a:prstGeom>
        </p:spPr>
      </p:pic>
      <p:pic>
        <p:nvPicPr>
          <p:cNvPr id="27" name="Imagen 26" descr="2086.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84279" y="4836807"/>
            <a:ext cx="554813" cy="554813"/>
          </a:xfrm>
          <a:prstGeom prst="rect">
            <a:avLst/>
          </a:prstGeom>
        </p:spPr>
      </p:pic>
      <p:pic>
        <p:nvPicPr>
          <p:cNvPr id="4" name="Imagen 3" descr="international-delivery.png">
            <a:hlinkClick r:id="" action="ppaction://hlinkshowjump?jump=nextslide"/>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08001" y="4848846"/>
            <a:ext cx="589817" cy="589817"/>
          </a:xfrm>
          <a:prstGeom prst="rect">
            <a:avLst/>
          </a:prstGeom>
        </p:spPr>
      </p:pic>
      <p:cxnSp>
        <p:nvCxnSpPr>
          <p:cNvPr id="28" name="Straight Connector 48">
            <a:extLst>
              <a:ext uri="{FF2B5EF4-FFF2-40B4-BE49-F238E27FC236}">
                <a16:creationId xmlns:a16="http://schemas.microsoft.com/office/drawing/2014/main" id="{B85BD34B-D835-9141-8B02-2DBC43499DFA}"/>
              </a:ext>
            </a:extLst>
          </p:cNvPr>
          <p:cNvCxnSpPr>
            <a:cxnSpLocks/>
          </p:cNvCxnSpPr>
          <p:nvPr/>
        </p:nvCxnSpPr>
        <p:spPr>
          <a:xfrm flipH="1">
            <a:off x="1107160" y="3841242"/>
            <a:ext cx="2336988" cy="0"/>
          </a:xfrm>
          <a:prstGeom prst="line">
            <a:avLst/>
          </a:prstGeom>
          <a:ln w="76200" cmpd="sng">
            <a:solidFill>
              <a:srgbClr val="25AAE1"/>
            </a:solidFill>
          </a:ln>
        </p:spPr>
        <p:style>
          <a:lnRef idx="1">
            <a:schemeClr val="accent1"/>
          </a:lnRef>
          <a:fillRef idx="0">
            <a:schemeClr val="accent1"/>
          </a:fillRef>
          <a:effectRef idx="0">
            <a:schemeClr val="accent1"/>
          </a:effectRef>
          <a:fontRef idx="minor">
            <a:schemeClr val="tx1"/>
          </a:fontRef>
        </p:style>
      </p:cxnSp>
      <p:sp>
        <p:nvSpPr>
          <p:cNvPr id="29" name="Rectangle 32">
            <a:extLst>
              <a:ext uri="{FF2B5EF4-FFF2-40B4-BE49-F238E27FC236}">
                <a16:creationId xmlns:a16="http://schemas.microsoft.com/office/drawing/2014/main" id="{5DA1D458-5F86-5242-AEA6-89C158C76D09}"/>
              </a:ext>
            </a:extLst>
          </p:cNvPr>
          <p:cNvSpPr/>
          <p:nvPr/>
        </p:nvSpPr>
        <p:spPr>
          <a:xfrm>
            <a:off x="1343915" y="3311337"/>
            <a:ext cx="1863479" cy="307777"/>
          </a:xfrm>
          <a:prstGeom prst="rect">
            <a:avLst/>
          </a:prstGeom>
        </p:spPr>
        <p:txBody>
          <a:bodyPr wrap="square">
            <a:spAutoFit/>
          </a:bodyPr>
          <a:lstStyle/>
          <a:p>
            <a:pPr algn="ctr"/>
            <a:r>
              <a:rPr lang="en-US" sz="1400" dirty="0" err="1">
                <a:solidFill>
                  <a:srgbClr val="716E6F"/>
                </a:solidFill>
                <a:latin typeface="Calibri" panose="020F0502020204030204" pitchFamily="34" charset="0"/>
                <a:ea typeface="Corbel" charset="0"/>
                <a:cs typeface="Calibri" panose="020F0502020204030204" pitchFamily="34" charset="0"/>
              </a:rPr>
              <a:t>Desarrollo</a:t>
            </a:r>
            <a:r>
              <a:rPr lang="en-US" sz="1400" dirty="0">
                <a:solidFill>
                  <a:srgbClr val="716E6F"/>
                </a:solidFill>
                <a:latin typeface="Calibri" panose="020F0502020204030204" pitchFamily="34" charset="0"/>
                <a:ea typeface="Corbel" charset="0"/>
                <a:cs typeface="Calibri" panose="020F0502020204030204" pitchFamily="34" charset="0"/>
              </a:rPr>
              <a:t> de la Idea</a:t>
            </a:r>
          </a:p>
        </p:txBody>
      </p:sp>
      <p:sp>
        <p:nvSpPr>
          <p:cNvPr id="30" name="Rectangle 42">
            <a:extLst>
              <a:ext uri="{FF2B5EF4-FFF2-40B4-BE49-F238E27FC236}">
                <a16:creationId xmlns:a16="http://schemas.microsoft.com/office/drawing/2014/main" id="{69C403D5-E35B-554F-A5EF-DF5F0C5D0552}"/>
              </a:ext>
            </a:extLst>
          </p:cNvPr>
          <p:cNvSpPr/>
          <p:nvPr/>
        </p:nvSpPr>
        <p:spPr>
          <a:xfrm>
            <a:off x="1492906" y="4004703"/>
            <a:ext cx="1565497" cy="300082"/>
          </a:xfrm>
          <a:prstGeom prst="rect">
            <a:avLst/>
          </a:prstGeom>
        </p:spPr>
        <p:txBody>
          <a:bodyPr wrap="square">
            <a:spAutoFit/>
          </a:bodyPr>
          <a:lstStyle/>
          <a:p>
            <a:pPr algn="ctr"/>
            <a:r>
              <a:rPr lang="en-US" sz="1350" b="1" dirty="0">
                <a:solidFill>
                  <a:srgbClr val="716E6F"/>
                </a:solidFill>
                <a:latin typeface="Corbel" charset="0"/>
                <a:ea typeface="Corbel" charset="0"/>
                <a:cs typeface="Corbel" charset="0"/>
              </a:rPr>
              <a:t>6-24 </a:t>
            </a:r>
            <a:r>
              <a:rPr lang="en-US" sz="1350" b="1" dirty="0" err="1">
                <a:solidFill>
                  <a:srgbClr val="716E6F"/>
                </a:solidFill>
                <a:latin typeface="Corbel" charset="0"/>
                <a:ea typeface="Corbel" charset="0"/>
                <a:cs typeface="Corbel" charset="0"/>
              </a:rPr>
              <a:t>meses</a:t>
            </a:r>
            <a:endParaRPr lang="en-US" sz="1350" b="1" dirty="0">
              <a:solidFill>
                <a:srgbClr val="716E6F"/>
              </a:solidFill>
              <a:latin typeface="Corbel" charset="0"/>
              <a:ea typeface="Corbel" charset="0"/>
              <a:cs typeface="Corbel" charset="0"/>
            </a:endParaRPr>
          </a:p>
        </p:txBody>
      </p:sp>
      <p:pic>
        <p:nvPicPr>
          <p:cNvPr id="11" name="Imagen 10">
            <a:extLst>
              <a:ext uri="{FF2B5EF4-FFF2-40B4-BE49-F238E27FC236}">
                <a16:creationId xmlns:a16="http://schemas.microsoft.com/office/drawing/2014/main" id="{76398C39-55DB-3740-B632-219911401D25}"/>
              </a:ext>
            </a:extLst>
          </p:cNvPr>
          <p:cNvPicPr>
            <a:picLocks noChangeAspect="1"/>
          </p:cNvPicPr>
          <p:nvPr/>
        </p:nvPicPr>
        <p:blipFill>
          <a:blip r:embed="rId9"/>
          <a:stretch>
            <a:fillRect/>
          </a:stretch>
        </p:blipFill>
        <p:spPr>
          <a:xfrm>
            <a:off x="3738690" y="4835227"/>
            <a:ext cx="610028" cy="610028"/>
          </a:xfrm>
          <a:prstGeom prst="rect">
            <a:avLst/>
          </a:prstGeom>
        </p:spPr>
      </p:pic>
      <p:pic>
        <p:nvPicPr>
          <p:cNvPr id="13" name="Imagen 12">
            <a:extLst>
              <a:ext uri="{FF2B5EF4-FFF2-40B4-BE49-F238E27FC236}">
                <a16:creationId xmlns:a16="http://schemas.microsoft.com/office/drawing/2014/main" id="{630989C1-8C2C-A84F-9A58-18477EA98A85}"/>
              </a:ext>
            </a:extLst>
          </p:cNvPr>
          <p:cNvPicPr>
            <a:picLocks noChangeAspect="1"/>
          </p:cNvPicPr>
          <p:nvPr/>
        </p:nvPicPr>
        <p:blipFill>
          <a:blip r:embed="rId10"/>
          <a:stretch>
            <a:fillRect/>
          </a:stretch>
        </p:blipFill>
        <p:spPr>
          <a:xfrm>
            <a:off x="1972952" y="4838343"/>
            <a:ext cx="605404" cy="605404"/>
          </a:xfrm>
          <a:prstGeom prst="rect">
            <a:avLst/>
          </a:prstGeom>
        </p:spPr>
      </p:pic>
      <p:sp>
        <p:nvSpPr>
          <p:cNvPr id="31" name="Rectangle 42">
            <a:extLst>
              <a:ext uri="{FF2B5EF4-FFF2-40B4-BE49-F238E27FC236}">
                <a16:creationId xmlns:a16="http://schemas.microsoft.com/office/drawing/2014/main" id="{D4D2DE68-6132-1349-B261-B4FF994B54DD}"/>
              </a:ext>
            </a:extLst>
          </p:cNvPr>
          <p:cNvSpPr/>
          <p:nvPr/>
        </p:nvSpPr>
        <p:spPr>
          <a:xfrm>
            <a:off x="6287928" y="4004703"/>
            <a:ext cx="2351775" cy="310787"/>
          </a:xfrm>
          <a:prstGeom prst="rect">
            <a:avLst/>
          </a:prstGeom>
        </p:spPr>
        <p:txBody>
          <a:bodyPr wrap="square">
            <a:spAutoFit/>
          </a:bodyPr>
          <a:lstStyle/>
          <a:p>
            <a:pPr algn="ctr"/>
            <a:r>
              <a:rPr lang="en-US" sz="1350" b="1" dirty="0">
                <a:solidFill>
                  <a:srgbClr val="716E6F"/>
                </a:solidFill>
                <a:latin typeface="Corbel" charset="0"/>
                <a:ea typeface="Corbel" charset="0"/>
                <a:cs typeface="Corbel" charset="0"/>
              </a:rPr>
              <a:t>12 – 36 </a:t>
            </a:r>
            <a:r>
              <a:rPr lang="en-US" sz="1350" b="1" dirty="0" err="1">
                <a:solidFill>
                  <a:srgbClr val="716E6F"/>
                </a:solidFill>
                <a:latin typeface="Corbel" charset="0"/>
                <a:ea typeface="Corbel" charset="0"/>
                <a:cs typeface="Corbel" charset="0"/>
              </a:rPr>
              <a:t>meses</a:t>
            </a:r>
            <a:endParaRPr lang="en-US" sz="1350" b="1" dirty="0">
              <a:solidFill>
                <a:srgbClr val="716E6F"/>
              </a:solidFill>
              <a:latin typeface="Corbel" charset="0"/>
              <a:ea typeface="Corbel" charset="0"/>
              <a:cs typeface="Corbel" charset="0"/>
            </a:endParaRPr>
          </a:p>
        </p:txBody>
      </p:sp>
      <p:sp>
        <p:nvSpPr>
          <p:cNvPr id="32" name="Rectangle 42">
            <a:extLst>
              <a:ext uri="{FF2B5EF4-FFF2-40B4-BE49-F238E27FC236}">
                <a16:creationId xmlns:a16="http://schemas.microsoft.com/office/drawing/2014/main" id="{C7D92E3A-6FF2-DD4A-AE10-3D0349425C95}"/>
              </a:ext>
            </a:extLst>
          </p:cNvPr>
          <p:cNvSpPr/>
          <p:nvPr/>
        </p:nvSpPr>
        <p:spPr>
          <a:xfrm>
            <a:off x="9999201" y="4015408"/>
            <a:ext cx="839140" cy="300082"/>
          </a:xfrm>
          <a:prstGeom prst="rect">
            <a:avLst/>
          </a:prstGeom>
        </p:spPr>
        <p:txBody>
          <a:bodyPr wrap="square">
            <a:spAutoFit/>
          </a:bodyPr>
          <a:lstStyle/>
          <a:p>
            <a:pPr algn="ctr"/>
            <a:r>
              <a:rPr lang="en-US" sz="1350" b="1" dirty="0">
                <a:solidFill>
                  <a:srgbClr val="716E6F"/>
                </a:solidFill>
                <a:latin typeface="Corbel" charset="0"/>
                <a:ea typeface="Corbel" charset="0"/>
                <a:cs typeface="Corbel" charset="0"/>
              </a:rPr>
              <a:t>4m</a:t>
            </a:r>
          </a:p>
        </p:txBody>
      </p:sp>
      <p:cxnSp>
        <p:nvCxnSpPr>
          <p:cNvPr id="15" name="Straight Arrow Connector 14">
            <a:extLst>
              <a:ext uri="{FF2B5EF4-FFF2-40B4-BE49-F238E27FC236}">
                <a16:creationId xmlns:a16="http://schemas.microsoft.com/office/drawing/2014/main" id="{65949E07-684D-4E44-A1D3-7496E19E7091}"/>
              </a:ext>
            </a:extLst>
          </p:cNvPr>
          <p:cNvCxnSpPr>
            <a:cxnSpLocks/>
          </p:cNvCxnSpPr>
          <p:nvPr/>
        </p:nvCxnSpPr>
        <p:spPr>
          <a:xfrm>
            <a:off x="1107160" y="2419835"/>
            <a:ext cx="3543003" cy="0"/>
          </a:xfrm>
          <a:prstGeom prst="straightConnector1">
            <a:avLst/>
          </a:prstGeom>
          <a:ln w="38100">
            <a:solidFill>
              <a:srgbClr val="EA5D0A"/>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Rectangle 3">
            <a:extLst>
              <a:ext uri="{FF2B5EF4-FFF2-40B4-BE49-F238E27FC236}">
                <a16:creationId xmlns:a16="http://schemas.microsoft.com/office/drawing/2014/main" id="{D62B43A8-8931-8844-855E-4E9D4FD8BCA9}"/>
              </a:ext>
            </a:extLst>
          </p:cNvPr>
          <p:cNvSpPr/>
          <p:nvPr/>
        </p:nvSpPr>
        <p:spPr>
          <a:xfrm>
            <a:off x="1929644" y="2229401"/>
            <a:ext cx="1898035" cy="380869"/>
          </a:xfrm>
          <a:prstGeom prst="rect">
            <a:avLst/>
          </a:prstGeom>
          <a:solidFill>
            <a:schemeClr val="bg1"/>
          </a:solidFill>
        </p:spPr>
        <p:txBody>
          <a:bodyPr wrap="square" lIns="41144" tIns="20572" rIns="41144" bIns="20572">
            <a:spAutoFit/>
          </a:bodyPr>
          <a:lstStyle/>
          <a:p>
            <a:pPr algn="ctr"/>
            <a:r>
              <a:rPr lang="en-US" sz="2205" b="1" dirty="0">
                <a:solidFill>
                  <a:srgbClr val="E94A1A"/>
                </a:solidFill>
                <a:latin typeface="Helvetica Neue" charset="0"/>
                <a:ea typeface="Helvetica Neue" charset="0"/>
                <a:cs typeface="Helvetica Neue" charset="0"/>
              </a:rPr>
              <a:t>1a PARTE</a:t>
            </a:r>
            <a:endParaRPr lang="en-US" sz="2205" b="1" dirty="0">
              <a:solidFill>
                <a:srgbClr val="E34D20"/>
              </a:solidFill>
              <a:latin typeface="Helvetica Neue" charset="0"/>
              <a:ea typeface="Helvetica Neue" charset="0"/>
              <a:cs typeface="Helvetica Neue" charset="0"/>
            </a:endParaRPr>
          </a:p>
        </p:txBody>
      </p:sp>
      <p:cxnSp>
        <p:nvCxnSpPr>
          <p:cNvPr id="36" name="Straight Arrow Connector 35">
            <a:extLst>
              <a:ext uri="{FF2B5EF4-FFF2-40B4-BE49-F238E27FC236}">
                <a16:creationId xmlns:a16="http://schemas.microsoft.com/office/drawing/2014/main" id="{5546F99E-65CD-5145-B08E-C0F43EDE13CD}"/>
              </a:ext>
            </a:extLst>
          </p:cNvPr>
          <p:cNvCxnSpPr>
            <a:cxnSpLocks/>
          </p:cNvCxnSpPr>
          <p:nvPr/>
        </p:nvCxnSpPr>
        <p:spPr>
          <a:xfrm flipV="1">
            <a:off x="4662656" y="2419834"/>
            <a:ext cx="6362574" cy="1"/>
          </a:xfrm>
          <a:prstGeom prst="straightConnector1">
            <a:avLst/>
          </a:prstGeom>
          <a:ln w="38100">
            <a:solidFill>
              <a:srgbClr val="EA5D0A"/>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Rectangle 3">
            <a:extLst>
              <a:ext uri="{FF2B5EF4-FFF2-40B4-BE49-F238E27FC236}">
                <a16:creationId xmlns:a16="http://schemas.microsoft.com/office/drawing/2014/main" id="{2B5FCF40-DBA0-484D-9DEC-B36C1932590A}"/>
              </a:ext>
            </a:extLst>
          </p:cNvPr>
          <p:cNvSpPr/>
          <p:nvPr/>
        </p:nvSpPr>
        <p:spPr>
          <a:xfrm>
            <a:off x="6894926" y="2229400"/>
            <a:ext cx="1898035" cy="380869"/>
          </a:xfrm>
          <a:prstGeom prst="rect">
            <a:avLst/>
          </a:prstGeom>
          <a:solidFill>
            <a:schemeClr val="bg1"/>
          </a:solidFill>
        </p:spPr>
        <p:txBody>
          <a:bodyPr wrap="square" lIns="41144" tIns="20572" rIns="41144" bIns="20572">
            <a:spAutoFit/>
          </a:bodyPr>
          <a:lstStyle/>
          <a:p>
            <a:pPr algn="ctr"/>
            <a:r>
              <a:rPr lang="en-US" sz="2205" b="1" dirty="0">
                <a:solidFill>
                  <a:srgbClr val="E94A1A"/>
                </a:solidFill>
                <a:latin typeface="Helvetica Neue" charset="0"/>
                <a:ea typeface="Helvetica Neue" charset="0"/>
                <a:cs typeface="Helvetica Neue" charset="0"/>
              </a:rPr>
              <a:t>2a PARTE</a:t>
            </a:r>
            <a:endParaRPr lang="en-US" sz="2205" b="1" dirty="0">
              <a:solidFill>
                <a:srgbClr val="E34D20"/>
              </a:solidFill>
              <a:latin typeface="Helvetica Neue" charset="0"/>
              <a:ea typeface="Helvetica Neue" charset="0"/>
              <a:cs typeface="Helvetica Neue" charset="0"/>
            </a:endParaRPr>
          </a:p>
        </p:txBody>
      </p:sp>
      <p:sp>
        <p:nvSpPr>
          <p:cNvPr id="39" name="TextBox 38">
            <a:extLst>
              <a:ext uri="{FF2B5EF4-FFF2-40B4-BE49-F238E27FC236}">
                <a16:creationId xmlns:a16="http://schemas.microsoft.com/office/drawing/2014/main" id="{6B5FF296-D674-584E-B2C1-C656CD3639FC}"/>
              </a:ext>
            </a:extLst>
          </p:cNvPr>
          <p:cNvSpPr txBox="1"/>
          <p:nvPr/>
        </p:nvSpPr>
        <p:spPr>
          <a:xfrm>
            <a:off x="6084466" y="6305796"/>
            <a:ext cx="5680648" cy="369332"/>
          </a:xfrm>
          <a:prstGeom prst="rect">
            <a:avLst/>
          </a:prstGeom>
          <a:noFill/>
        </p:spPr>
        <p:txBody>
          <a:bodyPr wrap="square" rtlCol="0">
            <a:spAutoFit/>
          </a:bodyPr>
          <a:lstStyle/>
          <a:p>
            <a:pPr algn="r"/>
            <a:r>
              <a:rPr lang="es-ES" b="1" i="1" dirty="0"/>
              <a:t>… total aproximadamente: de 2 a 7 años</a:t>
            </a:r>
          </a:p>
        </p:txBody>
      </p:sp>
    </p:spTree>
    <p:extLst>
      <p:ext uri="{BB962C8B-B14F-4D97-AF65-F5344CB8AC3E}">
        <p14:creationId xmlns:p14="http://schemas.microsoft.com/office/powerpoint/2010/main" val="57254807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499"/>
                                          </p:stCondLst>
                                        </p:cTn>
                                        <p:tgtEl>
                                          <p:spTgt spid="9"/>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nodeType="afterEffect">
                                  <p:stCondLst>
                                    <p:cond delay="0"/>
                                  </p:stCondLst>
                                  <p:childTnLst>
                                    <p:set>
                                      <p:cBhvr>
                                        <p:cTn id="9" dur="1" fill="hold">
                                          <p:stCondLst>
                                            <p:cond delay="499"/>
                                          </p:stCondLst>
                                        </p:cTn>
                                        <p:tgtEl>
                                          <p:spTgt spid="7"/>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nodeType="afterEffect">
                                  <p:stCondLst>
                                    <p:cond delay="0"/>
                                  </p:stCondLst>
                                  <p:childTnLst>
                                    <p:set>
                                      <p:cBhvr>
                                        <p:cTn id="12" dur="1" fill="hold">
                                          <p:stCondLst>
                                            <p:cond delay="499"/>
                                          </p:stCondLst>
                                        </p:cTn>
                                        <p:tgtEl>
                                          <p:spTgt spid="6"/>
                                        </p:tgtEl>
                                        <p:attrNameLst>
                                          <p:attrName>style.visibility</p:attrName>
                                        </p:attrNameLst>
                                      </p:cBhvr>
                                      <p:to>
                                        <p:strVal val="visible"/>
                                      </p:to>
                                    </p:set>
                                  </p:childTnLst>
                                </p:cTn>
                              </p:par>
                            </p:childTnLst>
                          </p:cTn>
                        </p:par>
                        <p:par>
                          <p:cTn id="13" fill="hold">
                            <p:stCondLst>
                              <p:cond delay="1500"/>
                            </p:stCondLst>
                            <p:childTnLst>
                              <p:par>
                                <p:cTn id="14" presetID="1" presetClass="entr" presetSubtype="0" fill="hold" nodeType="afterEffect">
                                  <p:stCondLst>
                                    <p:cond delay="0"/>
                                  </p:stCondLst>
                                  <p:childTnLst>
                                    <p:set>
                                      <p:cBhvr>
                                        <p:cTn id="15" dur="1" fill="hold">
                                          <p:stCondLst>
                                            <p:cond delay="499"/>
                                          </p:stCondLst>
                                        </p:cTn>
                                        <p:tgtEl>
                                          <p:spTgt spid="5"/>
                                        </p:tgtEl>
                                        <p:attrNameLst>
                                          <p:attrName>style.visibility</p:attrName>
                                        </p:attrNameLst>
                                      </p:cBhvr>
                                      <p:to>
                                        <p:strVal val="visible"/>
                                      </p:to>
                                    </p:set>
                                  </p:childTnLst>
                                </p:cTn>
                              </p:par>
                            </p:childTnLst>
                          </p:cTn>
                        </p:par>
                        <p:par>
                          <p:cTn id="16" fill="hold">
                            <p:stCondLst>
                              <p:cond delay="2000"/>
                            </p:stCondLst>
                            <p:childTnLst>
                              <p:par>
                                <p:cTn id="17" presetID="1" presetClass="entr" presetSubtype="0" fill="hold" nodeType="afterEffect">
                                  <p:stCondLst>
                                    <p:cond delay="0"/>
                                  </p:stCondLst>
                                  <p:childTnLst>
                                    <p:set>
                                      <p:cBhvr>
                                        <p:cTn id="18" dur="1" fill="hold">
                                          <p:stCondLst>
                                            <p:cond delay="499"/>
                                          </p:stCondLst>
                                        </p:cTn>
                                        <p:tgtEl>
                                          <p:spTgt spid="17"/>
                                        </p:tgtEl>
                                        <p:attrNameLst>
                                          <p:attrName>style.visibility</p:attrName>
                                        </p:attrNameLst>
                                      </p:cBhvr>
                                      <p:to>
                                        <p:strVal val="visible"/>
                                      </p:to>
                                    </p:set>
                                  </p:childTnLst>
                                </p:cTn>
                              </p:par>
                            </p:childTnLst>
                          </p:cTn>
                        </p:par>
                        <p:par>
                          <p:cTn id="19" fill="hold">
                            <p:stCondLst>
                              <p:cond delay="2500"/>
                            </p:stCondLst>
                            <p:childTnLst>
                              <p:par>
                                <p:cTn id="20" presetID="12" presetClass="entr" presetSubtype="4" fill="hold" grpId="0" nodeType="afterEffect">
                                  <p:stCondLst>
                                    <p:cond delay="0"/>
                                  </p:stCondLst>
                                  <p:childTnLst>
                                    <p:set>
                                      <p:cBhvr>
                                        <p:cTn id="21" dur="1" fill="hold">
                                          <p:stCondLst>
                                            <p:cond delay="0"/>
                                          </p:stCondLst>
                                        </p:cTn>
                                        <p:tgtEl>
                                          <p:spTgt spid="18"/>
                                        </p:tgtEl>
                                        <p:attrNameLst>
                                          <p:attrName>style.visibility</p:attrName>
                                        </p:attrNameLst>
                                      </p:cBhvr>
                                      <p:to>
                                        <p:strVal val="visible"/>
                                      </p:to>
                                    </p:set>
                                    <p:anim calcmode="lin" valueType="num">
                                      <p:cBhvr additive="base">
                                        <p:cTn id="22" dur="1000"/>
                                        <p:tgtEl>
                                          <p:spTgt spid="18"/>
                                        </p:tgtEl>
                                        <p:attrNameLst>
                                          <p:attrName>ppt_y</p:attrName>
                                        </p:attrNameLst>
                                      </p:cBhvr>
                                      <p:tavLst>
                                        <p:tav tm="0">
                                          <p:val>
                                            <p:strVal val="#ppt_y+#ppt_h*1.125000"/>
                                          </p:val>
                                        </p:tav>
                                        <p:tav tm="100000">
                                          <p:val>
                                            <p:strVal val="#ppt_y"/>
                                          </p:val>
                                        </p:tav>
                                      </p:tavLst>
                                    </p:anim>
                                    <p:animEffect transition="in" filter="wipe(up)">
                                      <p:cBhvr>
                                        <p:cTn id="23" dur="1000"/>
                                        <p:tgtEl>
                                          <p:spTgt spid="18"/>
                                        </p:tgtEl>
                                      </p:cBhvr>
                                    </p:animEffect>
                                  </p:childTnLst>
                                </p:cTn>
                              </p:par>
                            </p:childTnLst>
                          </p:cTn>
                        </p:par>
                        <p:par>
                          <p:cTn id="24" fill="hold">
                            <p:stCondLst>
                              <p:cond delay="3500"/>
                            </p:stCondLst>
                            <p:childTnLst>
                              <p:par>
                                <p:cTn id="25" presetID="12" presetClass="entr" presetSubtype="4" fill="hold" grpId="0" nodeType="afterEffect">
                                  <p:stCondLst>
                                    <p:cond delay="0"/>
                                  </p:stCondLst>
                                  <p:childTnLst>
                                    <p:set>
                                      <p:cBhvr>
                                        <p:cTn id="26" dur="1" fill="hold">
                                          <p:stCondLst>
                                            <p:cond delay="0"/>
                                          </p:stCondLst>
                                        </p:cTn>
                                        <p:tgtEl>
                                          <p:spTgt spid="19"/>
                                        </p:tgtEl>
                                        <p:attrNameLst>
                                          <p:attrName>style.visibility</p:attrName>
                                        </p:attrNameLst>
                                      </p:cBhvr>
                                      <p:to>
                                        <p:strVal val="visible"/>
                                      </p:to>
                                    </p:set>
                                    <p:anim calcmode="lin" valueType="num">
                                      <p:cBhvr additive="base">
                                        <p:cTn id="27" dur="900"/>
                                        <p:tgtEl>
                                          <p:spTgt spid="19"/>
                                        </p:tgtEl>
                                        <p:attrNameLst>
                                          <p:attrName>ppt_y</p:attrName>
                                        </p:attrNameLst>
                                      </p:cBhvr>
                                      <p:tavLst>
                                        <p:tav tm="0">
                                          <p:val>
                                            <p:strVal val="#ppt_y+#ppt_h*1.125000"/>
                                          </p:val>
                                        </p:tav>
                                        <p:tav tm="100000">
                                          <p:val>
                                            <p:strVal val="#ppt_y"/>
                                          </p:val>
                                        </p:tav>
                                      </p:tavLst>
                                    </p:anim>
                                    <p:animEffect transition="in" filter="wipe(up)">
                                      <p:cBhvr>
                                        <p:cTn id="28" dur="900"/>
                                        <p:tgtEl>
                                          <p:spTgt spid="19"/>
                                        </p:tgtEl>
                                      </p:cBhvr>
                                    </p:animEffect>
                                  </p:childTnLst>
                                </p:cTn>
                              </p:par>
                            </p:childTnLst>
                          </p:cTn>
                        </p:par>
                        <p:par>
                          <p:cTn id="29" fill="hold">
                            <p:stCondLst>
                              <p:cond delay="4400"/>
                            </p:stCondLst>
                            <p:childTnLst>
                              <p:par>
                                <p:cTn id="30" presetID="12" presetClass="entr" presetSubtype="4" fill="hold" grpId="0" nodeType="afterEffect">
                                  <p:stCondLst>
                                    <p:cond delay="0"/>
                                  </p:stCondLst>
                                  <p:childTnLst>
                                    <p:set>
                                      <p:cBhvr>
                                        <p:cTn id="31" dur="1" fill="hold">
                                          <p:stCondLst>
                                            <p:cond delay="0"/>
                                          </p:stCondLst>
                                        </p:cTn>
                                        <p:tgtEl>
                                          <p:spTgt spid="20"/>
                                        </p:tgtEl>
                                        <p:attrNameLst>
                                          <p:attrName>style.visibility</p:attrName>
                                        </p:attrNameLst>
                                      </p:cBhvr>
                                      <p:to>
                                        <p:strVal val="visible"/>
                                      </p:to>
                                    </p:set>
                                    <p:anim calcmode="lin" valueType="num">
                                      <p:cBhvr additive="base">
                                        <p:cTn id="32" dur="900"/>
                                        <p:tgtEl>
                                          <p:spTgt spid="20"/>
                                        </p:tgtEl>
                                        <p:attrNameLst>
                                          <p:attrName>ppt_y</p:attrName>
                                        </p:attrNameLst>
                                      </p:cBhvr>
                                      <p:tavLst>
                                        <p:tav tm="0">
                                          <p:val>
                                            <p:strVal val="#ppt_y+#ppt_h*1.125000"/>
                                          </p:val>
                                        </p:tav>
                                        <p:tav tm="100000">
                                          <p:val>
                                            <p:strVal val="#ppt_y"/>
                                          </p:val>
                                        </p:tav>
                                      </p:tavLst>
                                    </p:anim>
                                    <p:animEffect transition="in" filter="wipe(up)">
                                      <p:cBhvr>
                                        <p:cTn id="33" dur="900"/>
                                        <p:tgtEl>
                                          <p:spTgt spid="20"/>
                                        </p:tgtEl>
                                      </p:cBhvr>
                                    </p:animEffect>
                                  </p:childTnLst>
                                </p:cTn>
                              </p:par>
                            </p:childTnLst>
                          </p:cTn>
                        </p:par>
                        <p:par>
                          <p:cTn id="34" fill="hold">
                            <p:stCondLst>
                              <p:cond delay="5300"/>
                            </p:stCondLst>
                            <p:childTnLst>
                              <p:par>
                                <p:cTn id="35" presetID="12" presetClass="entr" presetSubtype="4" fill="hold" grpId="0" nodeType="afterEffect">
                                  <p:stCondLst>
                                    <p:cond delay="0"/>
                                  </p:stCondLst>
                                  <p:childTnLst>
                                    <p:set>
                                      <p:cBhvr>
                                        <p:cTn id="36" dur="1" fill="hold">
                                          <p:stCondLst>
                                            <p:cond delay="0"/>
                                          </p:stCondLst>
                                        </p:cTn>
                                        <p:tgtEl>
                                          <p:spTgt spid="21"/>
                                        </p:tgtEl>
                                        <p:attrNameLst>
                                          <p:attrName>style.visibility</p:attrName>
                                        </p:attrNameLst>
                                      </p:cBhvr>
                                      <p:to>
                                        <p:strVal val="visible"/>
                                      </p:to>
                                    </p:set>
                                    <p:anim calcmode="lin" valueType="num">
                                      <p:cBhvr additive="base">
                                        <p:cTn id="37" dur="900"/>
                                        <p:tgtEl>
                                          <p:spTgt spid="21"/>
                                        </p:tgtEl>
                                        <p:attrNameLst>
                                          <p:attrName>ppt_y</p:attrName>
                                        </p:attrNameLst>
                                      </p:cBhvr>
                                      <p:tavLst>
                                        <p:tav tm="0">
                                          <p:val>
                                            <p:strVal val="#ppt_y+#ppt_h*1.125000"/>
                                          </p:val>
                                        </p:tav>
                                        <p:tav tm="100000">
                                          <p:val>
                                            <p:strVal val="#ppt_y"/>
                                          </p:val>
                                        </p:tav>
                                      </p:tavLst>
                                    </p:anim>
                                    <p:animEffect transition="in" filter="wipe(up)">
                                      <p:cBhvr>
                                        <p:cTn id="38" dur="900"/>
                                        <p:tgtEl>
                                          <p:spTgt spid="21"/>
                                        </p:tgtEl>
                                      </p:cBhvr>
                                    </p:animEffect>
                                  </p:childTnLst>
                                </p:cTn>
                              </p:par>
                            </p:childTnLst>
                          </p:cTn>
                        </p:par>
                        <p:par>
                          <p:cTn id="39" fill="hold">
                            <p:stCondLst>
                              <p:cond delay="6200"/>
                            </p:stCondLst>
                            <p:childTnLst>
                              <p:par>
                                <p:cTn id="40" presetID="12" presetClass="entr" presetSubtype="4" fill="hold" grpId="0" nodeType="afterEffect">
                                  <p:stCondLst>
                                    <p:cond delay="0"/>
                                  </p:stCondLst>
                                  <p:childTnLst>
                                    <p:set>
                                      <p:cBhvr>
                                        <p:cTn id="41" dur="1" fill="hold">
                                          <p:stCondLst>
                                            <p:cond delay="0"/>
                                          </p:stCondLst>
                                        </p:cTn>
                                        <p:tgtEl>
                                          <p:spTgt spid="22"/>
                                        </p:tgtEl>
                                        <p:attrNameLst>
                                          <p:attrName>style.visibility</p:attrName>
                                        </p:attrNameLst>
                                      </p:cBhvr>
                                      <p:to>
                                        <p:strVal val="visible"/>
                                      </p:to>
                                    </p:set>
                                    <p:anim calcmode="lin" valueType="num">
                                      <p:cBhvr additive="base">
                                        <p:cTn id="42" dur="900"/>
                                        <p:tgtEl>
                                          <p:spTgt spid="22"/>
                                        </p:tgtEl>
                                        <p:attrNameLst>
                                          <p:attrName>ppt_y</p:attrName>
                                        </p:attrNameLst>
                                      </p:cBhvr>
                                      <p:tavLst>
                                        <p:tav tm="0">
                                          <p:val>
                                            <p:strVal val="#ppt_y+#ppt_h*1.125000"/>
                                          </p:val>
                                        </p:tav>
                                        <p:tav tm="100000">
                                          <p:val>
                                            <p:strVal val="#ppt_y"/>
                                          </p:val>
                                        </p:tav>
                                      </p:tavLst>
                                    </p:anim>
                                    <p:animEffect transition="in" filter="wipe(up)">
                                      <p:cBhvr>
                                        <p:cTn id="43" dur="900"/>
                                        <p:tgtEl>
                                          <p:spTgt spid="22"/>
                                        </p:tgtEl>
                                      </p:cBhvr>
                                    </p:animEffect>
                                  </p:childTnLst>
                                </p:cTn>
                              </p:par>
                            </p:childTnLst>
                          </p:cTn>
                        </p:par>
                        <p:par>
                          <p:cTn id="44" fill="hold">
                            <p:stCondLst>
                              <p:cond delay="7100"/>
                            </p:stCondLst>
                            <p:childTnLst>
                              <p:par>
                                <p:cTn id="45" presetID="1" presetClass="entr" presetSubtype="0" fill="hold" grpId="0" nodeType="afterEffect">
                                  <p:stCondLst>
                                    <p:cond delay="0"/>
                                  </p:stCondLst>
                                  <p:childTnLst>
                                    <p:set>
                                      <p:cBhvr>
                                        <p:cTn id="46" dur="1" fill="hold">
                                          <p:stCondLst>
                                            <p:cond delay="499"/>
                                          </p:stCondLst>
                                        </p:cTn>
                                        <p:tgtEl>
                                          <p:spTgt spid="23"/>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499"/>
                                          </p:stCondLst>
                                        </p:cTn>
                                        <p:tgtEl>
                                          <p:spTgt spid="25"/>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499"/>
                                          </p:stCondLst>
                                        </p:cTn>
                                        <p:tgtEl>
                                          <p:spTgt spid="16"/>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509"/>
                                          </p:stCondLst>
                                        </p:cTn>
                                        <p:tgtEl>
                                          <p:spTgt spid="24"/>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499"/>
                                          </p:stCondLst>
                                        </p:cTn>
                                        <p:tgtEl>
                                          <p:spTgt spid="26"/>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499"/>
                                          </p:stCondLst>
                                        </p:cTn>
                                        <p:tgtEl>
                                          <p:spTgt spid="27"/>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499"/>
                                          </p:stCondLst>
                                        </p:cTn>
                                        <p:tgtEl>
                                          <p:spTgt spid="4"/>
                                        </p:tgtEl>
                                        <p:attrNameLst>
                                          <p:attrName>style.visibility</p:attrName>
                                        </p:attrNameLst>
                                      </p:cBhvr>
                                      <p:to>
                                        <p:strVal val="visible"/>
                                      </p:to>
                                    </p:set>
                                  </p:childTnLst>
                                </p:cTn>
                              </p:par>
                            </p:childTnLst>
                          </p:cTn>
                        </p:par>
                        <p:par>
                          <p:cTn id="59" fill="hold">
                            <p:stCondLst>
                              <p:cond delay="7610"/>
                            </p:stCondLst>
                            <p:childTnLst>
                              <p:par>
                                <p:cTn id="60" presetID="1" presetClass="entr" presetSubtype="0" fill="hold" nodeType="afterEffect">
                                  <p:stCondLst>
                                    <p:cond delay="0"/>
                                  </p:stCondLst>
                                  <p:childTnLst>
                                    <p:set>
                                      <p:cBhvr>
                                        <p:cTn id="61" dur="1" fill="hold">
                                          <p:stCondLst>
                                            <p:cond delay="499"/>
                                          </p:stCondLst>
                                        </p:cTn>
                                        <p:tgtEl>
                                          <p:spTgt spid="28"/>
                                        </p:tgtEl>
                                        <p:attrNameLst>
                                          <p:attrName>style.visibility</p:attrName>
                                        </p:attrNameLst>
                                      </p:cBhvr>
                                      <p:to>
                                        <p:strVal val="visible"/>
                                      </p:to>
                                    </p:set>
                                  </p:childTnLst>
                                </p:cTn>
                              </p:par>
                            </p:childTnLst>
                          </p:cTn>
                        </p:par>
                        <p:par>
                          <p:cTn id="62" fill="hold">
                            <p:stCondLst>
                              <p:cond delay="8110"/>
                            </p:stCondLst>
                            <p:childTnLst>
                              <p:par>
                                <p:cTn id="63" presetID="12" presetClass="entr" presetSubtype="4" fill="hold" grpId="0" nodeType="afterEffect">
                                  <p:stCondLst>
                                    <p:cond delay="0"/>
                                  </p:stCondLst>
                                  <p:childTnLst>
                                    <p:set>
                                      <p:cBhvr>
                                        <p:cTn id="64" dur="1" fill="hold">
                                          <p:stCondLst>
                                            <p:cond delay="0"/>
                                          </p:stCondLst>
                                        </p:cTn>
                                        <p:tgtEl>
                                          <p:spTgt spid="29"/>
                                        </p:tgtEl>
                                        <p:attrNameLst>
                                          <p:attrName>style.visibility</p:attrName>
                                        </p:attrNameLst>
                                      </p:cBhvr>
                                      <p:to>
                                        <p:strVal val="visible"/>
                                      </p:to>
                                    </p:set>
                                    <p:anim calcmode="lin" valueType="num">
                                      <p:cBhvr additive="base">
                                        <p:cTn id="65" dur="900"/>
                                        <p:tgtEl>
                                          <p:spTgt spid="29"/>
                                        </p:tgtEl>
                                        <p:attrNameLst>
                                          <p:attrName>ppt_y</p:attrName>
                                        </p:attrNameLst>
                                      </p:cBhvr>
                                      <p:tavLst>
                                        <p:tav tm="0">
                                          <p:val>
                                            <p:strVal val="#ppt_y+#ppt_h*1.125000"/>
                                          </p:val>
                                        </p:tav>
                                        <p:tav tm="100000">
                                          <p:val>
                                            <p:strVal val="#ppt_y"/>
                                          </p:val>
                                        </p:tav>
                                      </p:tavLst>
                                    </p:anim>
                                    <p:animEffect transition="in" filter="wipe(up)">
                                      <p:cBhvr>
                                        <p:cTn id="66" dur="900"/>
                                        <p:tgtEl>
                                          <p:spTgt spid="29"/>
                                        </p:tgtEl>
                                      </p:cBhvr>
                                    </p:animEffect>
                                  </p:childTnLst>
                                </p:cTn>
                              </p:par>
                            </p:childTnLst>
                          </p:cTn>
                        </p:par>
                        <p:par>
                          <p:cTn id="67" fill="hold">
                            <p:stCondLst>
                              <p:cond delay="9010"/>
                            </p:stCondLst>
                            <p:childTnLst>
                              <p:par>
                                <p:cTn id="68" presetID="1" presetClass="entr" presetSubtype="0" fill="hold" grpId="0" nodeType="afterEffect">
                                  <p:stCondLst>
                                    <p:cond delay="0"/>
                                  </p:stCondLst>
                                  <p:childTnLst>
                                    <p:set>
                                      <p:cBhvr>
                                        <p:cTn id="69" dur="1" fill="hold">
                                          <p:stCondLst>
                                            <p:cond delay="499"/>
                                          </p:stCondLst>
                                        </p:cTn>
                                        <p:tgtEl>
                                          <p:spTgt spid="30"/>
                                        </p:tgtEl>
                                        <p:attrNameLst>
                                          <p:attrName>style.visibility</p:attrName>
                                        </p:attrNameLst>
                                      </p:cBhvr>
                                      <p:to>
                                        <p:strVal val="visible"/>
                                      </p:to>
                                    </p:set>
                                  </p:childTnLst>
                                </p:cTn>
                              </p:par>
                              <p:par>
                                <p:cTn id="70" presetID="1" presetClass="entr" presetSubtype="0" fill="hold" grpId="0" nodeType="withEffect">
                                  <p:stCondLst>
                                    <p:cond delay="0"/>
                                  </p:stCondLst>
                                  <p:childTnLst>
                                    <p:set>
                                      <p:cBhvr>
                                        <p:cTn id="71" dur="1" fill="hold">
                                          <p:stCondLst>
                                            <p:cond delay="499"/>
                                          </p:stCondLst>
                                        </p:cTn>
                                        <p:tgtEl>
                                          <p:spTgt spid="31"/>
                                        </p:tgtEl>
                                        <p:attrNameLst>
                                          <p:attrName>style.visibility</p:attrName>
                                        </p:attrNameLst>
                                      </p:cBhvr>
                                      <p:to>
                                        <p:strVal val="visible"/>
                                      </p:to>
                                    </p:set>
                                  </p:childTnLst>
                                </p:cTn>
                              </p:par>
                              <p:par>
                                <p:cTn id="72" presetID="1" presetClass="entr" presetSubtype="0" fill="hold" grpId="0" nodeType="withEffect">
                                  <p:stCondLst>
                                    <p:cond delay="0"/>
                                  </p:stCondLst>
                                  <p:childTnLst>
                                    <p:set>
                                      <p:cBhvr>
                                        <p:cTn id="73" dur="1" fill="hold">
                                          <p:stCondLst>
                                            <p:cond delay="509"/>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P spid="21" grpId="0"/>
      <p:bldP spid="22" grpId="0"/>
      <p:bldP spid="23" grpId="0"/>
      <p:bldP spid="24" grpId="0"/>
      <p:bldP spid="25" grpId="0"/>
      <p:bldP spid="29" grpId="0"/>
      <p:bldP spid="30" grpId="0"/>
      <p:bldP spid="31" grpId="0"/>
      <p:bldP spid="3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nY_pUoWMQNut_o6MjmV4X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0av5mAdUSdqoT6wLikcLA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94">
      <a:dk1>
        <a:srgbClr val="5D5D5D"/>
      </a:dk1>
      <a:lt1>
        <a:sysClr val="window" lastClr="FFFFFF"/>
      </a:lt1>
      <a:dk2>
        <a:srgbClr val="532210"/>
      </a:dk2>
      <a:lt2>
        <a:srgbClr val="231F20"/>
      </a:lt2>
      <a:accent1>
        <a:srgbClr val="EAEAEA"/>
      </a:accent1>
      <a:accent2>
        <a:srgbClr val="EA570C"/>
      </a:accent2>
      <a:accent3>
        <a:srgbClr val="C2470A"/>
      </a:accent3>
      <a:accent4>
        <a:srgbClr val="272727"/>
      </a:accent4>
      <a:accent5>
        <a:srgbClr val="532210"/>
      </a:accent5>
      <a:accent6>
        <a:srgbClr val="EF7A3F"/>
      </a:accent6>
      <a:hlink>
        <a:srgbClr val="0563C1"/>
      </a:hlink>
      <a:folHlink>
        <a:srgbClr val="954F72"/>
      </a:folHlink>
    </a:clrScheme>
    <a:fontScheme name="Custom 81">
      <a:majorFont>
        <a:latin typeface="Ubuntu"/>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993</TotalTime>
  <Words>651</Words>
  <Application>Microsoft Macintosh PowerPoint</Application>
  <PresentationFormat>Widescreen</PresentationFormat>
  <Paragraphs>114</Paragraphs>
  <Slides>9</Slides>
  <Notes>9</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23" baseType="lpstr">
      <vt:lpstr>Arial</vt:lpstr>
      <vt:lpstr>Calibri</vt:lpstr>
      <vt:lpstr>Corbel</vt:lpstr>
      <vt:lpstr>Courier New</vt:lpstr>
      <vt:lpstr>Helvetica Neue</vt:lpstr>
      <vt:lpstr>Open Sans</vt:lpstr>
      <vt:lpstr>Oswald Bold</vt:lpstr>
      <vt:lpstr>Roboto Light</vt:lpstr>
      <vt:lpstr>Roboto Regular</vt:lpstr>
      <vt:lpstr>Segoe UI Light</vt:lpstr>
      <vt:lpstr>Ubuntu</vt:lpstr>
      <vt:lpstr>Wingdings</vt:lpstr>
      <vt:lpstr>Office Theme</vt:lpstr>
      <vt:lpstr>think-cell Slide</vt:lpstr>
      <vt:lpstr>PowerPoint Presentation</vt:lpstr>
      <vt:lpstr>Objetivos de la ponencia</vt:lpstr>
      <vt:lpstr>PowerPoint Presentation</vt:lpstr>
      <vt:lpstr>Challenging, High-risk Landscape</vt:lpstr>
      <vt:lpstr>PowerPoint Presentation</vt:lpstr>
      <vt:lpstr>PowerPoint Presentation</vt:lpstr>
      <vt:lpstr>El trabajo aún no se ha acabado…</vt:lpstr>
      <vt:lpstr>Y...si todo bien...tendremos un estudio que impacta positivamente en...</vt:lpstr>
      <vt:lpstr>PowerPoint Presentation</vt:lpstr>
    </vt:vector>
  </TitlesOfParts>
  <Company>SignAddic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isual Sculptors</dc:creator>
  <cp:lastModifiedBy>Francois Riva</cp:lastModifiedBy>
  <cp:revision>797</cp:revision>
  <dcterms:created xsi:type="dcterms:W3CDTF">2014-07-11T05:58:42Z</dcterms:created>
  <dcterms:modified xsi:type="dcterms:W3CDTF">2018-12-14T08:33:00Z</dcterms:modified>
</cp:coreProperties>
</file>